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83" r:id="rId2"/>
    <p:sldId id="256" r:id="rId3"/>
    <p:sldId id="280" r:id="rId4"/>
    <p:sldId id="258" r:id="rId5"/>
    <p:sldId id="282" r:id="rId6"/>
    <p:sldId id="263" r:id="rId7"/>
    <p:sldId id="264" r:id="rId8"/>
    <p:sldId id="265" r:id="rId9"/>
    <p:sldId id="266" r:id="rId10"/>
    <p:sldId id="273" r:id="rId11"/>
    <p:sldId id="274" r:id="rId12"/>
    <p:sldId id="272" r:id="rId13"/>
    <p:sldId id="277" r:id="rId14"/>
    <p:sldId id="278" r:id="rId15"/>
  </p:sldIdLst>
  <p:sldSz cx="9906000" cy="6858000" type="A4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44336"/>
    <a:srgbClr val="FF9966"/>
    <a:srgbClr val="7030A0"/>
    <a:srgbClr val="90CFF1"/>
    <a:srgbClr val="D9D9D9"/>
    <a:srgbClr val="FFFFFF"/>
    <a:srgbClr val="DEDEDE"/>
    <a:srgbClr val="FFEED9"/>
    <a:srgbClr val="D9DEE1"/>
    <a:srgbClr val="418D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112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593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5310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7272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67"/>
          <p:cNvSpPr>
            <a:spLocks/>
          </p:cNvSpPr>
          <p:nvPr userDrawn="1"/>
        </p:nvSpPr>
        <p:spPr bwMode="auto">
          <a:xfrm>
            <a:off x="-5795" y="0"/>
            <a:ext cx="9928800" cy="6093466"/>
          </a:xfrm>
          <a:custGeom>
            <a:avLst/>
            <a:gdLst>
              <a:gd name="connsiteX0" fmla="*/ 10000 w 10000"/>
              <a:gd name="connsiteY0" fmla="*/ 6563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10000 w 10000"/>
              <a:gd name="connsiteY16" fmla="*/ 6563 h 16563"/>
              <a:gd name="connsiteX0" fmla="*/ 9930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30 w 10000"/>
              <a:gd name="connsiteY16" fmla="*/ 0 h 16563"/>
              <a:gd name="connsiteX0" fmla="*/ 9993 w 10016"/>
              <a:gd name="connsiteY0" fmla="*/ 0 h 16563"/>
              <a:gd name="connsiteX1" fmla="*/ 7 w 10016"/>
              <a:gd name="connsiteY1" fmla="*/ 0 h 16563"/>
              <a:gd name="connsiteX2" fmla="*/ 0 w 10016"/>
              <a:gd name="connsiteY2" fmla="*/ 14916 h 16563"/>
              <a:gd name="connsiteX3" fmla="*/ 0 w 10016"/>
              <a:gd name="connsiteY3" fmla="*/ 14916 h 16563"/>
              <a:gd name="connsiteX4" fmla="*/ 0 w 10016"/>
              <a:gd name="connsiteY4" fmla="*/ 15092 h 16563"/>
              <a:gd name="connsiteX5" fmla="*/ 388 w 10016"/>
              <a:gd name="connsiteY5" fmla="*/ 15092 h 16563"/>
              <a:gd name="connsiteX6" fmla="*/ 626 w 10016"/>
              <a:gd name="connsiteY6" fmla="*/ 16563 h 16563"/>
              <a:gd name="connsiteX7" fmla="*/ 865 w 10016"/>
              <a:gd name="connsiteY7" fmla="*/ 15092 h 16563"/>
              <a:gd name="connsiteX8" fmla="*/ 1057 w 10016"/>
              <a:gd name="connsiteY8" fmla="*/ 15092 h 16563"/>
              <a:gd name="connsiteX9" fmla="*/ 2653 w 10016"/>
              <a:gd name="connsiteY9" fmla="*/ 15092 h 16563"/>
              <a:gd name="connsiteX10" fmla="*/ 5124 w 10016"/>
              <a:gd name="connsiteY10" fmla="*/ 15092 h 16563"/>
              <a:gd name="connsiteX11" fmla="*/ 7681 w 10016"/>
              <a:gd name="connsiteY11" fmla="*/ 15092 h 16563"/>
              <a:gd name="connsiteX12" fmla="*/ 9536 w 10016"/>
              <a:gd name="connsiteY12" fmla="*/ 15092 h 16563"/>
              <a:gd name="connsiteX13" fmla="*/ 9997 w 10016"/>
              <a:gd name="connsiteY13" fmla="*/ 15092 h 16563"/>
              <a:gd name="connsiteX14" fmla="*/ 10000 w 10016"/>
              <a:gd name="connsiteY14" fmla="*/ 14916 h 16563"/>
              <a:gd name="connsiteX15" fmla="*/ 10000 w 10016"/>
              <a:gd name="connsiteY15" fmla="*/ 14916 h 16563"/>
              <a:gd name="connsiteX16" fmla="*/ 9993 w 10016"/>
              <a:gd name="connsiteY16" fmla="*/ 0 h 16563"/>
              <a:gd name="connsiteX0" fmla="*/ 9993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93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8962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10000 w 10000"/>
              <a:gd name="connsiteY14" fmla="*/ 14916 h 16563"/>
              <a:gd name="connsiteX15" fmla="*/ 8962 w 10000"/>
              <a:gd name="connsiteY15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8962 w 10000"/>
              <a:gd name="connsiteY14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9739 w 10000"/>
              <a:gd name="connsiteY13" fmla="*/ 14471 h 16563"/>
              <a:gd name="connsiteX14" fmla="*/ 8962 w 10000"/>
              <a:gd name="connsiteY14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8968"/>
              <a:gd name="connsiteY0" fmla="*/ 0 h 16563"/>
              <a:gd name="connsiteX1" fmla="*/ 7 w 8968"/>
              <a:gd name="connsiteY1" fmla="*/ 0 h 16563"/>
              <a:gd name="connsiteX2" fmla="*/ 0 w 8968"/>
              <a:gd name="connsiteY2" fmla="*/ 14916 h 16563"/>
              <a:gd name="connsiteX3" fmla="*/ 0 w 8968"/>
              <a:gd name="connsiteY3" fmla="*/ 14916 h 16563"/>
              <a:gd name="connsiteX4" fmla="*/ 0 w 8968"/>
              <a:gd name="connsiteY4" fmla="*/ 15092 h 16563"/>
              <a:gd name="connsiteX5" fmla="*/ 388 w 8968"/>
              <a:gd name="connsiteY5" fmla="*/ 15092 h 16563"/>
              <a:gd name="connsiteX6" fmla="*/ 626 w 8968"/>
              <a:gd name="connsiteY6" fmla="*/ 16563 h 16563"/>
              <a:gd name="connsiteX7" fmla="*/ 865 w 8968"/>
              <a:gd name="connsiteY7" fmla="*/ 15092 h 16563"/>
              <a:gd name="connsiteX8" fmla="*/ 1057 w 8968"/>
              <a:gd name="connsiteY8" fmla="*/ 15092 h 16563"/>
              <a:gd name="connsiteX9" fmla="*/ 2653 w 8968"/>
              <a:gd name="connsiteY9" fmla="*/ 15092 h 16563"/>
              <a:gd name="connsiteX10" fmla="*/ 5124 w 8968"/>
              <a:gd name="connsiteY10" fmla="*/ 15092 h 16563"/>
              <a:gd name="connsiteX11" fmla="*/ 7681 w 8968"/>
              <a:gd name="connsiteY11" fmla="*/ 15092 h 16563"/>
              <a:gd name="connsiteX12" fmla="*/ 8962 w 8968"/>
              <a:gd name="connsiteY12" fmla="*/ 15036 h 16563"/>
              <a:gd name="connsiteX13" fmla="*/ 8962 w 8968"/>
              <a:gd name="connsiteY13" fmla="*/ 0 h 16563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9998"/>
              <a:gd name="connsiteY0" fmla="*/ 0 h 10000"/>
              <a:gd name="connsiteX1" fmla="*/ 8 w 9998"/>
              <a:gd name="connsiteY1" fmla="*/ 0 h 10000"/>
              <a:gd name="connsiteX2" fmla="*/ 0 w 9998"/>
              <a:gd name="connsiteY2" fmla="*/ 9006 h 10000"/>
              <a:gd name="connsiteX3" fmla="*/ 0 w 9998"/>
              <a:gd name="connsiteY3" fmla="*/ 9006 h 10000"/>
              <a:gd name="connsiteX4" fmla="*/ 0 w 9998"/>
              <a:gd name="connsiteY4" fmla="*/ 9112 h 10000"/>
              <a:gd name="connsiteX5" fmla="*/ 433 w 9998"/>
              <a:gd name="connsiteY5" fmla="*/ 9112 h 10000"/>
              <a:gd name="connsiteX6" fmla="*/ 698 w 9998"/>
              <a:gd name="connsiteY6" fmla="*/ 10000 h 10000"/>
              <a:gd name="connsiteX7" fmla="*/ 965 w 9998"/>
              <a:gd name="connsiteY7" fmla="*/ 9112 h 10000"/>
              <a:gd name="connsiteX8" fmla="*/ 1179 w 9998"/>
              <a:gd name="connsiteY8" fmla="*/ 9112 h 10000"/>
              <a:gd name="connsiteX9" fmla="*/ 2958 w 9998"/>
              <a:gd name="connsiteY9" fmla="*/ 9112 h 10000"/>
              <a:gd name="connsiteX10" fmla="*/ 5714 w 9998"/>
              <a:gd name="connsiteY10" fmla="*/ 9112 h 10000"/>
              <a:gd name="connsiteX11" fmla="*/ 8565 w 9998"/>
              <a:gd name="connsiteY11" fmla="*/ 9112 h 10000"/>
              <a:gd name="connsiteX12" fmla="*/ 9993 w 9998"/>
              <a:gd name="connsiteY12" fmla="*/ 9078 h 10000"/>
              <a:gd name="connsiteX13" fmla="*/ 9993 w 9998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67 w 10000"/>
              <a:gd name="connsiteY11" fmla="*/ 9112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21 w 10000"/>
              <a:gd name="connsiteY11" fmla="*/ 9078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9995 w 10000"/>
              <a:gd name="connsiteY11" fmla="*/ 9078 h 10000"/>
              <a:gd name="connsiteX12" fmla="*/ 9995 w 10000"/>
              <a:gd name="connsiteY12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9995 w 10000"/>
              <a:gd name="connsiteY10" fmla="*/ 9078 h 10000"/>
              <a:gd name="connsiteX11" fmla="*/ 9995 w 10000"/>
              <a:gd name="connsiteY11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7 w 10000"/>
              <a:gd name="connsiteY3" fmla="*/ 7032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10067 w 10072"/>
              <a:gd name="connsiteY0" fmla="*/ 0 h 10525"/>
              <a:gd name="connsiteX1" fmla="*/ 80 w 10072"/>
              <a:gd name="connsiteY1" fmla="*/ 0 h 10525"/>
              <a:gd name="connsiteX2" fmla="*/ 72 w 10072"/>
              <a:gd name="connsiteY2" fmla="*/ 9006 h 10525"/>
              <a:gd name="connsiteX3" fmla="*/ 72 w 10072"/>
              <a:gd name="connsiteY3" fmla="*/ 9112 h 10525"/>
              <a:gd name="connsiteX4" fmla="*/ 505 w 10072"/>
              <a:gd name="connsiteY4" fmla="*/ 9112 h 10525"/>
              <a:gd name="connsiteX5" fmla="*/ 770 w 10072"/>
              <a:gd name="connsiteY5" fmla="*/ 10000 h 10525"/>
              <a:gd name="connsiteX6" fmla="*/ 1037 w 10072"/>
              <a:gd name="connsiteY6" fmla="*/ 9112 h 10525"/>
              <a:gd name="connsiteX7" fmla="*/ 1251 w 10072"/>
              <a:gd name="connsiteY7" fmla="*/ 9112 h 10525"/>
              <a:gd name="connsiteX8" fmla="*/ 10067 w 10072"/>
              <a:gd name="connsiteY8" fmla="*/ 9078 h 10525"/>
              <a:gd name="connsiteX9" fmla="*/ 10067 w 10072"/>
              <a:gd name="connsiteY9" fmla="*/ 0 h 10525"/>
              <a:gd name="connsiteX0" fmla="*/ 10067 w 10072"/>
              <a:gd name="connsiteY0" fmla="*/ 0 h 10000"/>
              <a:gd name="connsiteX1" fmla="*/ 80 w 10072"/>
              <a:gd name="connsiteY1" fmla="*/ 0 h 10000"/>
              <a:gd name="connsiteX2" fmla="*/ 79 w 10072"/>
              <a:gd name="connsiteY2" fmla="*/ 7714 h 10000"/>
              <a:gd name="connsiteX3" fmla="*/ 72 w 10072"/>
              <a:gd name="connsiteY3" fmla="*/ 9112 h 10000"/>
              <a:gd name="connsiteX4" fmla="*/ 505 w 10072"/>
              <a:gd name="connsiteY4" fmla="*/ 9112 h 10000"/>
              <a:gd name="connsiteX5" fmla="*/ 770 w 10072"/>
              <a:gd name="connsiteY5" fmla="*/ 10000 h 10000"/>
              <a:gd name="connsiteX6" fmla="*/ 1037 w 10072"/>
              <a:gd name="connsiteY6" fmla="*/ 9112 h 10000"/>
              <a:gd name="connsiteX7" fmla="*/ 1251 w 10072"/>
              <a:gd name="connsiteY7" fmla="*/ 9112 h 10000"/>
              <a:gd name="connsiteX8" fmla="*/ 10067 w 10072"/>
              <a:gd name="connsiteY8" fmla="*/ 9078 h 10000"/>
              <a:gd name="connsiteX9" fmla="*/ 10067 w 10072"/>
              <a:gd name="connsiteY9" fmla="*/ 0 h 10000"/>
              <a:gd name="connsiteX0" fmla="*/ 11653 w 11658"/>
              <a:gd name="connsiteY0" fmla="*/ 0 h 10000"/>
              <a:gd name="connsiteX1" fmla="*/ 1666 w 11658"/>
              <a:gd name="connsiteY1" fmla="*/ 0 h 10000"/>
              <a:gd name="connsiteX2" fmla="*/ 1658 w 11658"/>
              <a:gd name="connsiteY2" fmla="*/ 9112 h 10000"/>
              <a:gd name="connsiteX3" fmla="*/ 2091 w 11658"/>
              <a:gd name="connsiteY3" fmla="*/ 9112 h 10000"/>
              <a:gd name="connsiteX4" fmla="*/ 2356 w 11658"/>
              <a:gd name="connsiteY4" fmla="*/ 10000 h 10000"/>
              <a:gd name="connsiteX5" fmla="*/ 2623 w 11658"/>
              <a:gd name="connsiteY5" fmla="*/ 9112 h 10000"/>
              <a:gd name="connsiteX6" fmla="*/ 2837 w 11658"/>
              <a:gd name="connsiteY6" fmla="*/ 9112 h 10000"/>
              <a:gd name="connsiteX7" fmla="*/ 11653 w 11658"/>
              <a:gd name="connsiteY7" fmla="*/ 9078 h 10000"/>
              <a:gd name="connsiteX8" fmla="*/ 11653 w 11658"/>
              <a:gd name="connsiteY8" fmla="*/ 0 h 10000"/>
              <a:gd name="connsiteX0" fmla="*/ 10066 w 10071"/>
              <a:gd name="connsiteY0" fmla="*/ 0 h 10000"/>
              <a:gd name="connsiteX1" fmla="*/ 79 w 10071"/>
              <a:gd name="connsiteY1" fmla="*/ 0 h 10000"/>
              <a:gd name="connsiteX2" fmla="*/ 71 w 10071"/>
              <a:gd name="connsiteY2" fmla="*/ 9112 h 10000"/>
              <a:gd name="connsiteX3" fmla="*/ 504 w 10071"/>
              <a:gd name="connsiteY3" fmla="*/ 9112 h 10000"/>
              <a:gd name="connsiteX4" fmla="*/ 769 w 10071"/>
              <a:gd name="connsiteY4" fmla="*/ 10000 h 10000"/>
              <a:gd name="connsiteX5" fmla="*/ 1036 w 10071"/>
              <a:gd name="connsiteY5" fmla="*/ 9112 h 10000"/>
              <a:gd name="connsiteX6" fmla="*/ 1250 w 10071"/>
              <a:gd name="connsiteY6" fmla="*/ 9112 h 10000"/>
              <a:gd name="connsiteX7" fmla="*/ 10066 w 10071"/>
              <a:gd name="connsiteY7" fmla="*/ 9078 h 10000"/>
              <a:gd name="connsiteX8" fmla="*/ 10066 w 10071"/>
              <a:gd name="connsiteY8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112 h 10000"/>
              <a:gd name="connsiteX3" fmla="*/ 433 w 10000"/>
              <a:gd name="connsiteY3" fmla="*/ 9112 h 10000"/>
              <a:gd name="connsiteX4" fmla="*/ 698 w 10000"/>
              <a:gd name="connsiteY4" fmla="*/ 10000 h 10000"/>
              <a:gd name="connsiteX5" fmla="*/ 965 w 10000"/>
              <a:gd name="connsiteY5" fmla="*/ 9112 h 10000"/>
              <a:gd name="connsiteX6" fmla="*/ 1179 w 10000"/>
              <a:gd name="connsiteY6" fmla="*/ 9112 h 10000"/>
              <a:gd name="connsiteX7" fmla="*/ 9995 w 10000"/>
              <a:gd name="connsiteY7" fmla="*/ 9078 h 10000"/>
              <a:gd name="connsiteX8" fmla="*/ 9995 w 10000"/>
              <a:gd name="connsiteY8" fmla="*/ 0 h 10000"/>
              <a:gd name="connsiteX0" fmla="*/ 9993 w 9998"/>
              <a:gd name="connsiteY0" fmla="*/ 0 h 10000"/>
              <a:gd name="connsiteX1" fmla="*/ 6 w 9998"/>
              <a:gd name="connsiteY1" fmla="*/ 0 h 10000"/>
              <a:gd name="connsiteX2" fmla="*/ 234 w 9998"/>
              <a:gd name="connsiteY2" fmla="*/ 9078 h 10000"/>
              <a:gd name="connsiteX3" fmla="*/ 431 w 9998"/>
              <a:gd name="connsiteY3" fmla="*/ 9112 h 10000"/>
              <a:gd name="connsiteX4" fmla="*/ 696 w 9998"/>
              <a:gd name="connsiteY4" fmla="*/ 10000 h 10000"/>
              <a:gd name="connsiteX5" fmla="*/ 963 w 9998"/>
              <a:gd name="connsiteY5" fmla="*/ 9112 h 10000"/>
              <a:gd name="connsiteX6" fmla="*/ 1177 w 9998"/>
              <a:gd name="connsiteY6" fmla="*/ 9112 h 10000"/>
              <a:gd name="connsiteX7" fmla="*/ 9993 w 9998"/>
              <a:gd name="connsiteY7" fmla="*/ 9078 h 10000"/>
              <a:gd name="connsiteX8" fmla="*/ 9993 w 9998"/>
              <a:gd name="connsiteY8" fmla="*/ 0 h 10000"/>
              <a:gd name="connsiteX0" fmla="*/ 9767 w 9772"/>
              <a:gd name="connsiteY0" fmla="*/ 0 h 10000"/>
              <a:gd name="connsiteX1" fmla="*/ 6 w 9772"/>
              <a:gd name="connsiteY1" fmla="*/ 0 h 10000"/>
              <a:gd name="connsiteX2" fmla="*/ 6 w 9772"/>
              <a:gd name="connsiteY2" fmla="*/ 9078 h 10000"/>
              <a:gd name="connsiteX3" fmla="*/ 203 w 9772"/>
              <a:gd name="connsiteY3" fmla="*/ 9112 h 10000"/>
              <a:gd name="connsiteX4" fmla="*/ 468 w 9772"/>
              <a:gd name="connsiteY4" fmla="*/ 10000 h 10000"/>
              <a:gd name="connsiteX5" fmla="*/ 735 w 9772"/>
              <a:gd name="connsiteY5" fmla="*/ 9112 h 10000"/>
              <a:gd name="connsiteX6" fmla="*/ 949 w 9772"/>
              <a:gd name="connsiteY6" fmla="*/ 9112 h 10000"/>
              <a:gd name="connsiteX7" fmla="*/ 9767 w 9772"/>
              <a:gd name="connsiteY7" fmla="*/ 9078 h 10000"/>
              <a:gd name="connsiteX8" fmla="*/ 9767 w 9772"/>
              <a:gd name="connsiteY8" fmla="*/ 0 h 10000"/>
              <a:gd name="connsiteX0" fmla="*/ 9990 w 9995"/>
              <a:gd name="connsiteY0" fmla="*/ 18860 h 28860"/>
              <a:gd name="connsiteX1" fmla="*/ 6 w 9995"/>
              <a:gd name="connsiteY1" fmla="*/ 0 h 28860"/>
              <a:gd name="connsiteX2" fmla="*/ 1 w 9995"/>
              <a:gd name="connsiteY2" fmla="*/ 27938 h 28860"/>
              <a:gd name="connsiteX3" fmla="*/ 203 w 9995"/>
              <a:gd name="connsiteY3" fmla="*/ 27972 h 28860"/>
              <a:gd name="connsiteX4" fmla="*/ 474 w 9995"/>
              <a:gd name="connsiteY4" fmla="*/ 28860 h 28860"/>
              <a:gd name="connsiteX5" fmla="*/ 747 w 9995"/>
              <a:gd name="connsiteY5" fmla="*/ 27972 h 28860"/>
              <a:gd name="connsiteX6" fmla="*/ 966 w 9995"/>
              <a:gd name="connsiteY6" fmla="*/ 27972 h 28860"/>
              <a:gd name="connsiteX7" fmla="*/ 9990 w 9995"/>
              <a:gd name="connsiteY7" fmla="*/ 27938 h 28860"/>
              <a:gd name="connsiteX8" fmla="*/ 9990 w 9995"/>
              <a:gd name="connsiteY8" fmla="*/ 18860 h 28860"/>
              <a:gd name="connsiteX0" fmla="*/ 10000 w 10005"/>
              <a:gd name="connsiteY0" fmla="*/ 0 h 10000"/>
              <a:gd name="connsiteX1" fmla="*/ 6 w 10005"/>
              <a:gd name="connsiteY1" fmla="*/ 0 h 10000"/>
              <a:gd name="connsiteX2" fmla="*/ 1 w 10005"/>
              <a:gd name="connsiteY2" fmla="*/ 9681 h 10000"/>
              <a:gd name="connsiteX3" fmla="*/ 203 w 10005"/>
              <a:gd name="connsiteY3" fmla="*/ 9692 h 10000"/>
              <a:gd name="connsiteX4" fmla="*/ 474 w 10005"/>
              <a:gd name="connsiteY4" fmla="*/ 10000 h 10000"/>
              <a:gd name="connsiteX5" fmla="*/ 747 w 10005"/>
              <a:gd name="connsiteY5" fmla="*/ 9692 h 10000"/>
              <a:gd name="connsiteX6" fmla="*/ 966 w 10005"/>
              <a:gd name="connsiteY6" fmla="*/ 9692 h 10000"/>
              <a:gd name="connsiteX7" fmla="*/ 9995 w 10005"/>
              <a:gd name="connsiteY7" fmla="*/ 9681 h 10000"/>
              <a:gd name="connsiteX8" fmla="*/ 10000 w 10005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05" h="10000">
                <a:moveTo>
                  <a:pt x="10000" y="0"/>
                </a:moveTo>
                <a:lnTo>
                  <a:pt x="6" y="0"/>
                </a:lnTo>
                <a:cubicBezTo>
                  <a:pt x="0" y="533"/>
                  <a:pt x="4" y="9107"/>
                  <a:pt x="1" y="9681"/>
                </a:cubicBezTo>
                <a:lnTo>
                  <a:pt x="203" y="9692"/>
                </a:lnTo>
                <a:cubicBezTo>
                  <a:pt x="414" y="9692"/>
                  <a:pt x="471" y="9963"/>
                  <a:pt x="474" y="10000"/>
                </a:cubicBezTo>
                <a:cubicBezTo>
                  <a:pt x="482" y="9957"/>
                  <a:pt x="534" y="9692"/>
                  <a:pt x="747" y="9692"/>
                </a:cubicBezTo>
                <a:lnTo>
                  <a:pt x="966" y="9692"/>
                </a:lnTo>
                <a:lnTo>
                  <a:pt x="9995" y="9681"/>
                </a:lnTo>
                <a:cubicBezTo>
                  <a:pt x="9992" y="9351"/>
                  <a:pt x="10005" y="153"/>
                  <a:pt x="10000" y="0"/>
                </a:cubicBezTo>
                <a:close/>
              </a:path>
            </a:pathLst>
          </a:custGeom>
          <a:blipFill>
            <a:blip r:embed="rId6" cstate="email"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schemeClr val="accent5">
                <a:lumMod val="60000"/>
                <a:lumOff val="40000"/>
                <a:alpha val="5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de-DE" kern="120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" name="Group 204"/>
          <p:cNvGrpSpPr/>
          <p:nvPr userDrawn="1"/>
        </p:nvGrpSpPr>
        <p:grpSpPr>
          <a:xfrm>
            <a:off x="-27638" y="1470025"/>
            <a:ext cx="9933639" cy="4445001"/>
            <a:chOff x="-27638" y="1470025"/>
            <a:chExt cx="9933639" cy="4445001"/>
          </a:xfrm>
        </p:grpSpPr>
        <p:grpSp>
          <p:nvGrpSpPr>
            <p:cNvPr id="4" name="Group 167"/>
            <p:cNvGrpSpPr/>
            <p:nvPr userDrawn="1"/>
          </p:nvGrpSpPr>
          <p:grpSpPr>
            <a:xfrm>
              <a:off x="0" y="1500852"/>
              <a:ext cx="9906001" cy="4400551"/>
              <a:chOff x="0" y="1500852"/>
              <a:chExt cx="9906001" cy="4400551"/>
            </a:xfrm>
          </p:grpSpPr>
          <p:sp>
            <p:nvSpPr>
              <p:cNvPr id="8" name="Freeform 120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" name="Freeform 121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" name="Freeform 122"/>
              <p:cNvSpPr>
                <a:spLocks/>
              </p:cNvSpPr>
              <p:nvPr userDrawn="1"/>
            </p:nvSpPr>
            <p:spPr bwMode="auto">
              <a:xfrm>
                <a:off x="6716713" y="4609177"/>
                <a:ext cx="2489200" cy="757238"/>
              </a:xfrm>
              <a:custGeom>
                <a:avLst/>
                <a:gdLst/>
                <a:ahLst/>
                <a:cxnLst>
                  <a:cxn ang="0">
                    <a:pos x="1240" y="0"/>
                  </a:cxn>
                  <a:cxn ang="0">
                    <a:pos x="846" y="50"/>
                  </a:cxn>
                  <a:cxn ang="0">
                    <a:pos x="827" y="240"/>
                  </a:cxn>
                  <a:cxn ang="0">
                    <a:pos x="0" y="161"/>
                  </a:cxn>
                  <a:cxn ang="0">
                    <a:pos x="1568" y="477"/>
                  </a:cxn>
                  <a:cxn ang="0">
                    <a:pos x="1240" y="0"/>
                  </a:cxn>
                </a:cxnLst>
                <a:rect l="0" t="0" r="r" b="b"/>
                <a:pathLst>
                  <a:path w="1568" h="477">
                    <a:moveTo>
                      <a:pt x="1240" y="0"/>
                    </a:moveTo>
                    <a:lnTo>
                      <a:pt x="846" y="50"/>
                    </a:lnTo>
                    <a:lnTo>
                      <a:pt x="827" y="240"/>
                    </a:lnTo>
                    <a:lnTo>
                      <a:pt x="0" y="161"/>
                    </a:lnTo>
                    <a:lnTo>
                      <a:pt x="1568" y="477"/>
                    </a:lnTo>
                    <a:lnTo>
                      <a:pt x="124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" name="Freeform 124"/>
              <p:cNvSpPr>
                <a:spLocks/>
              </p:cNvSpPr>
              <p:nvPr userDrawn="1"/>
            </p:nvSpPr>
            <p:spPr bwMode="auto">
              <a:xfrm>
                <a:off x="9183688" y="4486940"/>
                <a:ext cx="446088" cy="57150"/>
              </a:xfrm>
              <a:custGeom>
                <a:avLst/>
                <a:gdLst/>
                <a:ahLst/>
                <a:cxnLst>
                  <a:cxn ang="0">
                    <a:pos x="281" y="0"/>
                  </a:cxn>
                  <a:cxn ang="0">
                    <a:pos x="0" y="10"/>
                  </a:cxn>
                  <a:cxn ang="0">
                    <a:pos x="2" y="36"/>
                  </a:cxn>
                  <a:cxn ang="0">
                    <a:pos x="281" y="0"/>
                  </a:cxn>
                </a:cxnLst>
                <a:rect l="0" t="0" r="r" b="b"/>
                <a:pathLst>
                  <a:path w="281" h="36">
                    <a:moveTo>
                      <a:pt x="281" y="0"/>
                    </a:moveTo>
                    <a:lnTo>
                      <a:pt x="0" y="10"/>
                    </a:lnTo>
                    <a:lnTo>
                      <a:pt x="2" y="36"/>
                    </a:lnTo>
                    <a:lnTo>
                      <a:pt x="281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" name="Freeform 126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" name="Freeform 127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" name="Freeform 128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" name="Freeform 129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0" name="Freeform 130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" name="Freeform 131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2" name="Freeform 132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close/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3" name="Freeform 133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" name="Freeform 134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5" name="Freeform 135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6" name="Freeform 136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1758950" cy="1770063"/>
              </a:xfrm>
              <a:custGeom>
                <a:avLst/>
                <a:gdLst/>
                <a:ahLst/>
                <a:cxnLst>
                  <a:cxn ang="0">
                    <a:pos x="307" y="729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532" y="444"/>
                  </a:cxn>
                  <a:cxn ang="0">
                    <a:pos x="528" y="448"/>
                  </a:cxn>
                  <a:cxn ang="0">
                    <a:pos x="882" y="1084"/>
                  </a:cxn>
                  <a:cxn ang="0">
                    <a:pos x="884" y="1086"/>
                  </a:cxn>
                  <a:cxn ang="0">
                    <a:pos x="1066" y="935"/>
                  </a:cxn>
                  <a:cxn ang="0">
                    <a:pos x="1108" y="7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</a:cxnLst>
                <a:rect l="0" t="0" r="r" b="b"/>
                <a:pathLst>
                  <a:path w="1108" h="1115">
                    <a:moveTo>
                      <a:pt x="307" y="729"/>
                    </a:moveTo>
                    <a:lnTo>
                      <a:pt x="0" y="1115"/>
                    </a:lnTo>
                    <a:lnTo>
                      <a:pt x="307" y="729"/>
                    </a:lnTo>
                    <a:lnTo>
                      <a:pt x="307" y="729"/>
                    </a:lnTo>
                    <a:lnTo>
                      <a:pt x="307" y="729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532" y="444"/>
                    </a:lnTo>
                    <a:lnTo>
                      <a:pt x="528" y="448"/>
                    </a:lnTo>
                    <a:lnTo>
                      <a:pt x="882" y="1084"/>
                    </a:lnTo>
                    <a:lnTo>
                      <a:pt x="884" y="1086"/>
                    </a:lnTo>
                    <a:lnTo>
                      <a:pt x="1066" y="935"/>
                    </a:lnTo>
                    <a:lnTo>
                      <a:pt x="1108" y="715"/>
                    </a:lnTo>
                    <a:lnTo>
                      <a:pt x="281" y="0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281" y="0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rgbClr val="CFB4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" name="Freeform 138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" name="Freeform 139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9" name="Freeform 140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close/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" name="Freeform 141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" name="Freeform 142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" name="Freeform 143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3" name="Rectangle 144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solidFill>
                <a:srgbClr val="0E000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4" name="Rectangle 145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5" name="Freeform 146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close/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close/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6" name="Freeform 147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7" name="Freeform 148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8" name="Freeform 149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9" name="Freeform 150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4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0" name="Freeform 151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1" name="Freeform 152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  <a:close/>
                  </a:path>
                </a:pathLst>
              </a:custGeom>
              <a:gradFill>
                <a:gsLst>
                  <a:gs pos="0">
                    <a:srgbClr val="B58EA2"/>
                  </a:gs>
                  <a:gs pos="100000">
                    <a:srgbClr val="8D516F">
                      <a:alpha val="69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2" name="Freeform 153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3" name="Freeform 154"/>
              <p:cNvSpPr>
                <a:spLocks noEditPoints="1"/>
              </p:cNvSpPr>
              <p:nvPr userDrawn="1"/>
            </p:nvSpPr>
            <p:spPr bwMode="auto">
              <a:xfrm>
                <a:off x="2714625" y="2440652"/>
                <a:ext cx="1209675" cy="2341563"/>
              </a:xfrm>
              <a:custGeom>
                <a:avLst/>
                <a:gdLst/>
                <a:ahLst/>
                <a:cxnLst>
                  <a:cxn ang="0">
                    <a:pos x="105" y="1475"/>
                  </a:cxn>
                  <a:cxn ang="0">
                    <a:pos x="105" y="1475"/>
                  </a:cxn>
                  <a:cxn ang="0">
                    <a:pos x="762" y="0"/>
                  </a:cxn>
                  <a:cxn ang="0">
                    <a:pos x="0" y="634"/>
                  </a:cxn>
                  <a:cxn ang="0">
                    <a:pos x="50" y="1030"/>
                  </a:cxn>
                  <a:cxn ang="0">
                    <a:pos x="245" y="1158"/>
                  </a:cxn>
                  <a:cxn ang="0">
                    <a:pos x="762" y="0"/>
                  </a:cxn>
                </a:cxnLst>
                <a:rect l="0" t="0" r="r" b="b"/>
                <a:pathLst>
                  <a:path w="762" h="1475">
                    <a:moveTo>
                      <a:pt x="105" y="1475"/>
                    </a:moveTo>
                    <a:lnTo>
                      <a:pt x="105" y="1475"/>
                    </a:lnTo>
                    <a:close/>
                    <a:moveTo>
                      <a:pt x="762" y="0"/>
                    </a:moveTo>
                    <a:lnTo>
                      <a:pt x="0" y="634"/>
                    </a:lnTo>
                    <a:lnTo>
                      <a:pt x="50" y="1030"/>
                    </a:lnTo>
                    <a:lnTo>
                      <a:pt x="245" y="1158"/>
                    </a:lnTo>
                    <a:lnTo>
                      <a:pt x="76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23855">
                      <a:alpha val="92000"/>
                    </a:srgbClr>
                  </a:gs>
                  <a:gs pos="100000">
                    <a:srgbClr val="8D516F">
                      <a:alpha val="80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4" name="Freeform 156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  <a:close/>
                  </a:path>
                </a:pathLst>
              </a:custGeom>
              <a:solidFill>
                <a:schemeClr val="tx2">
                  <a:alpha val="3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5" name="Freeform 157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6" name="Freeform 158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65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7" name="Freeform 159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8" name="Freeform 160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31000">
                    <a:srgbClr val="77445E">
                      <a:alpha val="90000"/>
                    </a:srgbClr>
                  </a:gs>
                  <a:gs pos="65000">
                    <a:schemeClr val="accent2">
                      <a:alpha val="40000"/>
                    </a:scheme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9" name="Freeform 161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0" name="Freeform 162"/>
              <p:cNvSpPr>
                <a:spLocks/>
              </p:cNvSpPr>
              <p:nvPr userDrawn="1"/>
            </p:nvSpPr>
            <p:spPr bwMode="auto">
              <a:xfrm>
                <a:off x="3925888" y="2450177"/>
                <a:ext cx="1768475" cy="21844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4" y="358"/>
                  </a:cxn>
                  <a:cxn ang="0">
                    <a:pos x="712" y="1376"/>
                  </a:cxn>
                  <a:cxn ang="0">
                    <a:pos x="1114" y="1111"/>
                  </a:cxn>
                  <a:cxn ang="0">
                    <a:pos x="0" y="0"/>
                  </a:cxn>
                </a:cxnLst>
                <a:rect l="0" t="0" r="r" b="b"/>
                <a:pathLst>
                  <a:path w="1114" h="1376">
                    <a:moveTo>
                      <a:pt x="0" y="0"/>
                    </a:moveTo>
                    <a:lnTo>
                      <a:pt x="184" y="358"/>
                    </a:lnTo>
                    <a:lnTo>
                      <a:pt x="712" y="1376"/>
                    </a:lnTo>
                    <a:lnTo>
                      <a:pt x="1114" y="1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1" name="Freeform 164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2" name="Freeform 165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166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rgbClr val="05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167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5" name="Freeform 170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56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6" name="Freeform 171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172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8D516F">
                      <a:alpha val="75000"/>
                    </a:srgbClr>
                  </a:gs>
                </a:gsLst>
                <a:lin ang="138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173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Freeform 174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close/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81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Freeform 175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1" name="Freeform 176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177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178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514" y="0"/>
                  </a:cxn>
                  <a:cxn ang="0">
                    <a:pos x="0" y="75"/>
                  </a:cxn>
                  <a:cxn ang="0">
                    <a:pos x="134" y="0"/>
                  </a:cxn>
                  <a:cxn ang="0">
                    <a:pos x="57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514" y="0"/>
                    </a:lnTo>
                    <a:lnTo>
                      <a:pt x="0" y="75"/>
                    </a:lnTo>
                    <a:lnTo>
                      <a:pt x="134" y="0"/>
                    </a:lnTo>
                    <a:lnTo>
                      <a:pt x="57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180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181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6" name="Freeform 182"/>
              <p:cNvSpPr>
                <a:spLocks/>
              </p:cNvSpPr>
              <p:nvPr userDrawn="1"/>
            </p:nvSpPr>
            <p:spPr bwMode="auto">
              <a:xfrm>
                <a:off x="8197850" y="1500852"/>
                <a:ext cx="873125" cy="292100"/>
              </a:xfrm>
              <a:custGeom>
                <a:avLst/>
                <a:gdLst/>
                <a:ahLst/>
                <a:cxnLst>
                  <a:cxn ang="0">
                    <a:pos x="447" y="0"/>
                  </a:cxn>
                  <a:cxn ang="0">
                    <a:pos x="0" y="184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447" y="0"/>
                  </a:cxn>
                </a:cxnLst>
                <a:rect l="0" t="0" r="r" b="b"/>
                <a:pathLst>
                  <a:path w="550" h="184">
                    <a:moveTo>
                      <a:pt x="447" y="0"/>
                    </a:moveTo>
                    <a:lnTo>
                      <a:pt x="0" y="184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447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7" name="Freeform 184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8" name="Freeform 185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9" name="Freeform 186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0" name="Freeform 187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1" name="Freeform 188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/>
                  </a:gs>
                  <a:gs pos="100000">
                    <a:srgbClr val="65394F"/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2" name="Freeform 189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3" name="Freeform 190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85000"/>
                    </a:srgbClr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4" name="Freeform 191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5" name="Freeform 192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6" name="Freeform 193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</a:path>
                </a:pathLst>
              </a:custGeom>
              <a:gradFill>
                <a:gsLst>
                  <a:gs pos="0">
                    <a:srgbClr val="65394F">
                      <a:alpha val="58000"/>
                    </a:srgbClr>
                  </a:gs>
                  <a:gs pos="42000">
                    <a:srgbClr val="8D516F">
                      <a:alpha val="45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7" name="Freeform 194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75000"/>
                    </a:srgbClr>
                  </a:gs>
                  <a:gs pos="100000">
                    <a:srgbClr val="65394F">
                      <a:alpha val="76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8" name="Freeform 195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9" name="Freeform 196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0" name="Freeform 197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1" name="Freeform 200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26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2" name="Freeform 201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3" name="Freeform 202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487363" cy="1770063"/>
              </a:xfrm>
              <a:custGeom>
                <a:avLst/>
                <a:gdLst/>
                <a:ahLst/>
                <a:cxnLst>
                  <a:cxn ang="0">
                    <a:pos x="0" y="1115"/>
                  </a:cxn>
                  <a:cxn ang="0">
                    <a:pos x="0" y="11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281" y="0"/>
                  </a:cxn>
                </a:cxnLst>
                <a:rect l="0" t="0" r="r" b="b"/>
                <a:pathLst>
                  <a:path w="307" h="1115">
                    <a:moveTo>
                      <a:pt x="0" y="1115"/>
                    </a:moveTo>
                    <a:lnTo>
                      <a:pt x="0" y="1115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0" y="1115"/>
                    </a:lnTo>
                    <a:lnTo>
                      <a:pt x="307" y="729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chemeClr val="accent2">
                  <a:alpha val="9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4" name="Freeform 204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9D6182">
                      <a:alpha val="59000"/>
                    </a:srgbClr>
                  </a:gs>
                  <a:gs pos="100000">
                    <a:srgbClr val="B58EA2">
                      <a:alpha val="53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5" name="Freeform 205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6" name="Freeform 206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7" name="Freeform 207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8" name="Freeform 208"/>
              <p:cNvSpPr>
                <a:spLocks noEditPoints="1"/>
              </p:cNvSpPr>
              <p:nvPr userDrawn="1"/>
            </p:nvSpPr>
            <p:spPr bwMode="auto">
              <a:xfrm>
                <a:off x="1368425" y="2046952"/>
                <a:ext cx="392113" cy="1157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6" y="729"/>
                  </a:cxn>
                  <a:cxn ang="0">
                    <a:pos x="247" y="4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47" h="729">
                    <a:moveTo>
                      <a:pt x="0" y="0"/>
                    </a:moveTo>
                    <a:lnTo>
                      <a:pt x="0" y="0"/>
                    </a:lnTo>
                    <a:lnTo>
                      <a:pt x="26" y="729"/>
                    </a:lnTo>
                    <a:lnTo>
                      <a:pt x="247" y="4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9" name="Freeform 210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0">
                    <a:schemeClr val="tx2">
                      <a:alpha val="57000"/>
                    </a:scheme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0" name="Freeform 211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1" name="Freeform 212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2" name="Freeform 213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3" name="Freeform 214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6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4" name="Freeform 215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5" name="Freeform 216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close/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3000"/>
                    </a:srgbClr>
                  </a:gs>
                  <a:gs pos="48000">
                    <a:srgbClr val="77445E">
                      <a:alpha val="63000"/>
                    </a:srgbClr>
                  </a:gs>
                  <a:gs pos="100000">
                    <a:srgbClr val="65394F">
                      <a:alpha val="69000"/>
                    </a:srgbClr>
                  </a:gs>
                </a:gsLst>
                <a:lin ang="13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6" name="Freeform 217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7" name="Freeform 218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3000"/>
                    </a:srgbClr>
                  </a:gs>
                  <a:gs pos="100000">
                    <a:srgbClr val="723855"/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8" name="Freeform 219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9" name="Freeform 220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8000"/>
                    </a:srgbClr>
                  </a:gs>
                  <a:gs pos="100000">
                    <a:srgbClr val="602A43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0" name="Freeform 221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1" name="Freeform 222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77000"/>
                    </a:srgbClr>
                  </a:gs>
                  <a:gs pos="100000">
                    <a:srgbClr val="9D6182">
                      <a:alpha val="75000"/>
                    </a:srgbClr>
                  </a:gs>
                </a:gsLst>
                <a:lin ang="14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2" name="Freeform 223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3" name="Freeform 224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4" name="Freeform 225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5" name="Rectangle 226"/>
              <p:cNvSpPr>
                <a:spLocks noChangeArrowheads="1"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prstGeom prst="rect">
                <a:avLst/>
              </a:prstGeom>
              <a:solidFill>
                <a:srgbClr val="25000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6" name="Freeform 227"/>
              <p:cNvSpPr>
                <a:spLocks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7" name="Freeform 228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8" name="Freeform 229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9" name="Freeform 230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0" name="Freeform 231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1" name="Freeform 232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2" name="Freeform 233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3" name="Freeform 234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9000"/>
                    </a:srgbClr>
                  </a:gs>
                  <a:gs pos="100000">
                    <a:srgbClr val="65394F">
                      <a:alpha val="92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4" name="Freeform 235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5" name="Freeform 236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32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6" name="Freeform 237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7" name="Freeform 238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18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8" name="Freeform 239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Freeform 240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Freeform 241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1" name="Freeform 242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chemeClr val="accent2">
                      <a:alpha val="31000"/>
                    </a:scheme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2" name="Freeform 243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Freeform 244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4" name="Freeform 245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5" name="Freeform 246"/>
              <p:cNvSpPr>
                <a:spLocks noEditPoints="1"/>
              </p:cNvSpPr>
              <p:nvPr userDrawn="1"/>
            </p:nvSpPr>
            <p:spPr bwMode="auto">
              <a:xfrm>
                <a:off x="9431338" y="1843752"/>
                <a:ext cx="474663" cy="1322388"/>
              </a:xfrm>
              <a:custGeom>
                <a:avLst/>
                <a:gdLst/>
                <a:ahLst/>
                <a:cxnLst>
                  <a:cxn ang="0">
                    <a:pos x="299" y="67"/>
                  </a:cxn>
                  <a:cxn ang="0">
                    <a:pos x="113" y="524"/>
                  </a:cxn>
                  <a:cxn ang="0">
                    <a:pos x="299" y="833"/>
                  </a:cxn>
                  <a:cxn ang="0">
                    <a:pos x="299" y="67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299" y="0"/>
                  </a:cxn>
                </a:cxnLst>
                <a:rect l="0" t="0" r="r" b="b"/>
                <a:pathLst>
                  <a:path w="299" h="833">
                    <a:moveTo>
                      <a:pt x="299" y="67"/>
                    </a:moveTo>
                    <a:lnTo>
                      <a:pt x="113" y="524"/>
                    </a:lnTo>
                    <a:lnTo>
                      <a:pt x="299" y="833"/>
                    </a:lnTo>
                    <a:lnTo>
                      <a:pt x="299" y="67"/>
                    </a:lnTo>
                    <a:close/>
                    <a:moveTo>
                      <a:pt x="299" y="0"/>
                    </a:moveTo>
                    <a:lnTo>
                      <a:pt x="0" y="336"/>
                    </a:lnTo>
                    <a:lnTo>
                      <a:pt x="299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6" name="Freeform 248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close/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249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8" name="Freeform 250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9" name="Freeform 251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0" name="Freeform 252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763588" cy="1060450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481" y="668"/>
                  </a:cxn>
                  <a:cxn ang="0">
                    <a:pos x="481" y="497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0" y="206"/>
                  </a:cxn>
                  <a:cxn ang="0">
                    <a:pos x="182" y="0"/>
                  </a:cxn>
                  <a:cxn ang="0">
                    <a:pos x="182" y="0"/>
                  </a:cxn>
                </a:cxnLst>
                <a:rect l="0" t="0" r="r" b="b"/>
                <a:pathLst>
                  <a:path w="481" h="668">
                    <a:moveTo>
                      <a:pt x="182" y="0"/>
                    </a:moveTo>
                    <a:lnTo>
                      <a:pt x="0" y="206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481" y="668"/>
                    </a:lnTo>
                    <a:lnTo>
                      <a:pt x="481" y="497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0" y="206"/>
                    </a:lnTo>
                    <a:lnTo>
                      <a:pt x="182" y="0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1" name="Freeform 254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2" name="Freeform 255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3" name="Freeform 256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4" name="Freeform 257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5" name="Freeform 258"/>
              <p:cNvSpPr>
                <a:spLocks/>
              </p:cNvSpPr>
              <p:nvPr userDrawn="1"/>
            </p:nvSpPr>
            <p:spPr bwMode="auto">
              <a:xfrm>
                <a:off x="9431338" y="1843752"/>
                <a:ext cx="474663" cy="831850"/>
              </a:xfrm>
              <a:custGeom>
                <a:avLst/>
                <a:gdLst/>
                <a:ahLst/>
                <a:cxnLst>
                  <a:cxn ang="0">
                    <a:pos x="299" y="0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113" y="524"/>
                  </a:cxn>
                  <a:cxn ang="0">
                    <a:pos x="299" y="67"/>
                  </a:cxn>
                  <a:cxn ang="0">
                    <a:pos x="299" y="0"/>
                  </a:cxn>
                </a:cxnLst>
                <a:rect l="0" t="0" r="r" b="b"/>
                <a:pathLst>
                  <a:path w="299" h="524">
                    <a:moveTo>
                      <a:pt x="299" y="0"/>
                    </a:moveTo>
                    <a:lnTo>
                      <a:pt x="299" y="0"/>
                    </a:lnTo>
                    <a:lnTo>
                      <a:pt x="0" y="336"/>
                    </a:lnTo>
                    <a:lnTo>
                      <a:pt x="113" y="524"/>
                    </a:lnTo>
                    <a:lnTo>
                      <a:pt x="299" y="67"/>
                    </a:lnTo>
                    <a:lnTo>
                      <a:pt x="2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6" name="Freeform 260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468313" cy="3270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182" y="0"/>
                  </a:cxn>
                </a:cxnLst>
                <a:rect l="0" t="0" r="r" b="b"/>
                <a:pathLst>
                  <a:path w="295" h="206">
                    <a:moveTo>
                      <a:pt x="182" y="0"/>
                    </a:moveTo>
                    <a:lnTo>
                      <a:pt x="0" y="206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182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7" name="Freeform 262"/>
              <p:cNvSpPr>
                <a:spLocks/>
              </p:cNvSpPr>
              <p:nvPr userDrawn="1"/>
            </p:nvSpPr>
            <p:spPr bwMode="auto">
              <a:xfrm>
                <a:off x="9070975" y="1758027"/>
                <a:ext cx="835025" cy="387350"/>
              </a:xfrm>
              <a:custGeom>
                <a:avLst/>
                <a:gdLst/>
                <a:ahLst/>
                <a:cxnLst>
                  <a:cxn ang="0">
                    <a:pos x="526" y="0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140" y="244"/>
                  </a:cxn>
                  <a:cxn ang="0">
                    <a:pos x="526" y="26"/>
                  </a:cxn>
                  <a:cxn ang="0">
                    <a:pos x="526" y="0"/>
                  </a:cxn>
                </a:cxnLst>
                <a:rect l="0" t="0" r="r" b="b"/>
                <a:pathLst>
                  <a:path w="526" h="244">
                    <a:moveTo>
                      <a:pt x="526" y="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140" y="244"/>
                    </a:lnTo>
                    <a:lnTo>
                      <a:pt x="526" y="26"/>
                    </a:lnTo>
                    <a:lnTo>
                      <a:pt x="52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8" name="Freeform 264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close/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9" name="Freeform 265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0" name="Freeform 266"/>
              <p:cNvSpPr>
                <a:spLocks/>
              </p:cNvSpPr>
              <p:nvPr userDrawn="1"/>
            </p:nvSpPr>
            <p:spPr bwMode="auto">
              <a:xfrm>
                <a:off x="7856538" y="1792952"/>
                <a:ext cx="976313" cy="1160463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215" y="0"/>
                  </a:cxn>
                  <a:cxn ang="0">
                    <a:pos x="0" y="731"/>
                  </a:cxn>
                  <a:cxn ang="0">
                    <a:pos x="615" y="384"/>
                  </a:cxn>
                  <a:cxn ang="0">
                    <a:pos x="215" y="0"/>
                  </a:cxn>
                </a:cxnLst>
                <a:rect l="0" t="0" r="r" b="b"/>
                <a:pathLst>
                  <a:path w="615" h="731">
                    <a:moveTo>
                      <a:pt x="215" y="0"/>
                    </a:moveTo>
                    <a:lnTo>
                      <a:pt x="215" y="0"/>
                    </a:lnTo>
                    <a:lnTo>
                      <a:pt x="0" y="731"/>
                    </a:lnTo>
                    <a:lnTo>
                      <a:pt x="615" y="384"/>
                    </a:lnTo>
                    <a:lnTo>
                      <a:pt x="2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1" name="Freeform 268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1095375" cy="6286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400" y="396"/>
                  </a:cxn>
                  <a:cxn ang="0">
                    <a:pos x="690" y="234"/>
                  </a:cxn>
                  <a:cxn ang="0">
                    <a:pos x="550" y="0"/>
                  </a:cxn>
                </a:cxnLst>
                <a:rect l="0" t="0" r="r" b="b"/>
                <a:pathLst>
                  <a:path w="690" h="396">
                    <a:moveTo>
                      <a:pt x="550" y="0"/>
                    </a:moveTo>
                    <a:lnTo>
                      <a:pt x="0" y="12"/>
                    </a:lnTo>
                    <a:lnTo>
                      <a:pt x="400" y="396"/>
                    </a:lnTo>
                    <a:lnTo>
                      <a:pt x="690" y="234"/>
                    </a:lnTo>
                    <a:lnTo>
                      <a:pt x="550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2" name="Freeform 270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3" name="Freeform 271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4" name="Freeform 272"/>
              <p:cNvSpPr>
                <a:spLocks noEditPoints="1"/>
              </p:cNvSpPr>
              <p:nvPr userDrawn="1"/>
            </p:nvSpPr>
            <p:spPr bwMode="auto">
              <a:xfrm>
                <a:off x="8453438" y="1812002"/>
                <a:ext cx="1452563" cy="1671638"/>
              </a:xfrm>
              <a:custGeom>
                <a:avLst/>
                <a:gdLst/>
                <a:ahLst/>
                <a:cxnLst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915" y="0"/>
                  </a:cxn>
                  <a:cxn ang="0">
                    <a:pos x="557" y="255"/>
                  </a:cxn>
                  <a:cxn ang="0">
                    <a:pos x="616" y="356"/>
                  </a:cxn>
                  <a:cxn ang="0">
                    <a:pos x="915" y="20"/>
                  </a:cxn>
                  <a:cxn ang="0">
                    <a:pos x="915" y="0"/>
                  </a:cxn>
                </a:cxnLst>
                <a:rect l="0" t="0" r="r" b="b"/>
                <a:pathLst>
                  <a:path w="915" h="1053">
                    <a:moveTo>
                      <a:pt x="0" y="1053"/>
                    </a:moveTo>
                    <a:lnTo>
                      <a:pt x="0" y="1053"/>
                    </a:lnTo>
                    <a:lnTo>
                      <a:pt x="0" y="1053"/>
                    </a:lnTo>
                    <a:lnTo>
                      <a:pt x="0" y="1053"/>
                    </a:lnTo>
                    <a:close/>
                    <a:moveTo>
                      <a:pt x="915" y="0"/>
                    </a:moveTo>
                    <a:lnTo>
                      <a:pt x="557" y="255"/>
                    </a:lnTo>
                    <a:lnTo>
                      <a:pt x="616" y="356"/>
                    </a:lnTo>
                    <a:lnTo>
                      <a:pt x="915" y="20"/>
                    </a:lnTo>
                    <a:lnTo>
                      <a:pt x="9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5" name="Freeform 274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6" name="Freeform 275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7" name="Freeform 276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8" name="Freeform 277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9" name="Freeform 278"/>
              <p:cNvSpPr>
                <a:spLocks/>
              </p:cNvSpPr>
              <p:nvPr userDrawn="1"/>
            </p:nvSpPr>
            <p:spPr bwMode="auto">
              <a:xfrm>
                <a:off x="7737475" y="2504152"/>
                <a:ext cx="1404938" cy="979488"/>
              </a:xfrm>
              <a:custGeom>
                <a:avLst/>
                <a:gdLst/>
                <a:ahLst/>
                <a:cxnLst>
                  <a:cxn ang="0">
                    <a:pos x="755" y="0"/>
                  </a:cxn>
                  <a:cxn ang="0">
                    <a:pos x="0" y="538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885" y="126"/>
                  </a:cxn>
                  <a:cxn ang="0">
                    <a:pos x="755" y="0"/>
                  </a:cxn>
                </a:cxnLst>
                <a:rect l="0" t="0" r="r" b="b"/>
                <a:pathLst>
                  <a:path w="885" h="617">
                    <a:moveTo>
                      <a:pt x="755" y="0"/>
                    </a:moveTo>
                    <a:lnTo>
                      <a:pt x="0" y="538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885" y="126"/>
                    </a:lnTo>
                    <a:lnTo>
                      <a:pt x="755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723855">
                      <a:alpha val="49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0" name="Freeform 280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1" name="Freeform 281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2" name="Freeform 282"/>
              <p:cNvSpPr>
                <a:spLocks/>
              </p:cNvSpPr>
              <p:nvPr userDrawn="1"/>
            </p:nvSpPr>
            <p:spPr bwMode="auto">
              <a:xfrm>
                <a:off x="8936038" y="2216815"/>
                <a:ext cx="495300" cy="487363"/>
              </a:xfrm>
              <a:custGeom>
                <a:avLst/>
                <a:gdLst/>
                <a:ahLst/>
                <a:cxnLst>
                  <a:cxn ang="0">
                    <a:pos x="253" y="0"/>
                  </a:cxn>
                  <a:cxn ang="0">
                    <a:pos x="0" y="181"/>
                  </a:cxn>
                  <a:cxn ang="0">
                    <a:pos x="130" y="307"/>
                  </a:cxn>
                  <a:cxn ang="0">
                    <a:pos x="312" y="101"/>
                  </a:cxn>
                  <a:cxn ang="0">
                    <a:pos x="253" y="0"/>
                  </a:cxn>
                </a:cxnLst>
                <a:rect l="0" t="0" r="r" b="b"/>
                <a:pathLst>
                  <a:path w="312" h="307">
                    <a:moveTo>
                      <a:pt x="253" y="0"/>
                    </a:moveTo>
                    <a:lnTo>
                      <a:pt x="0" y="181"/>
                    </a:lnTo>
                    <a:lnTo>
                      <a:pt x="130" y="307"/>
                    </a:lnTo>
                    <a:lnTo>
                      <a:pt x="312" y="101"/>
                    </a:lnTo>
                    <a:lnTo>
                      <a:pt x="253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3" name="Freeform 284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4" name="Freeform 285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5" name="Freeform 286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134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134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6" name="Freeform 288"/>
              <p:cNvSpPr>
                <a:spLocks/>
              </p:cNvSpPr>
              <p:nvPr userDrawn="1"/>
            </p:nvSpPr>
            <p:spPr bwMode="auto">
              <a:xfrm>
                <a:off x="9293225" y="1799302"/>
                <a:ext cx="612775" cy="417513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0" y="218"/>
                  </a:cxn>
                  <a:cxn ang="0">
                    <a:pos x="28" y="263"/>
                  </a:cxn>
                  <a:cxn ang="0">
                    <a:pos x="386" y="8"/>
                  </a:cxn>
                  <a:cxn ang="0">
                    <a:pos x="386" y="0"/>
                  </a:cxn>
                </a:cxnLst>
                <a:rect l="0" t="0" r="r" b="b"/>
                <a:pathLst>
                  <a:path w="386" h="263">
                    <a:moveTo>
                      <a:pt x="386" y="0"/>
                    </a:moveTo>
                    <a:lnTo>
                      <a:pt x="0" y="218"/>
                    </a:lnTo>
                    <a:lnTo>
                      <a:pt x="28" y="263"/>
                    </a:lnTo>
                    <a:lnTo>
                      <a:pt x="386" y="8"/>
                    </a:lnTo>
                    <a:lnTo>
                      <a:pt x="386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7" name="Freeform 290"/>
              <p:cNvSpPr>
                <a:spLocks/>
              </p:cNvSpPr>
              <p:nvPr userDrawn="1"/>
            </p:nvSpPr>
            <p:spPr bwMode="auto">
              <a:xfrm>
                <a:off x="7737475" y="2402552"/>
                <a:ext cx="1198563" cy="955675"/>
              </a:xfrm>
              <a:custGeom>
                <a:avLst/>
                <a:gdLst/>
                <a:ahLst/>
                <a:cxnLst>
                  <a:cxn ang="0">
                    <a:pos x="690" y="0"/>
                  </a:cxn>
                  <a:cxn ang="0">
                    <a:pos x="75" y="347"/>
                  </a:cxn>
                  <a:cxn ang="0">
                    <a:pos x="0" y="602"/>
                  </a:cxn>
                  <a:cxn ang="0">
                    <a:pos x="755" y="64"/>
                  </a:cxn>
                  <a:cxn ang="0">
                    <a:pos x="690" y="0"/>
                  </a:cxn>
                </a:cxnLst>
                <a:rect l="0" t="0" r="r" b="b"/>
                <a:pathLst>
                  <a:path w="755" h="602">
                    <a:moveTo>
                      <a:pt x="690" y="0"/>
                    </a:moveTo>
                    <a:lnTo>
                      <a:pt x="75" y="347"/>
                    </a:lnTo>
                    <a:lnTo>
                      <a:pt x="0" y="602"/>
                    </a:lnTo>
                    <a:lnTo>
                      <a:pt x="755" y="64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8" name="Freeform 292"/>
              <p:cNvSpPr>
                <a:spLocks/>
              </p:cNvSpPr>
              <p:nvPr userDrawn="1"/>
            </p:nvSpPr>
            <p:spPr bwMode="auto">
              <a:xfrm>
                <a:off x="8832850" y="2145377"/>
                <a:ext cx="504825" cy="358775"/>
              </a:xfrm>
              <a:custGeom>
                <a:avLst/>
                <a:gdLst/>
                <a:ahLst/>
                <a:cxnLst>
                  <a:cxn ang="0">
                    <a:pos x="290" y="0"/>
                  </a:cxn>
                  <a:cxn ang="0">
                    <a:pos x="0" y="162"/>
                  </a:cxn>
                  <a:cxn ang="0">
                    <a:pos x="65" y="226"/>
                  </a:cxn>
                  <a:cxn ang="0">
                    <a:pos x="318" y="45"/>
                  </a:cxn>
                  <a:cxn ang="0">
                    <a:pos x="290" y="0"/>
                  </a:cxn>
                </a:cxnLst>
                <a:rect l="0" t="0" r="r" b="b"/>
                <a:pathLst>
                  <a:path w="318" h="226">
                    <a:moveTo>
                      <a:pt x="290" y="0"/>
                    </a:moveTo>
                    <a:lnTo>
                      <a:pt x="0" y="162"/>
                    </a:lnTo>
                    <a:lnTo>
                      <a:pt x="65" y="226"/>
                    </a:lnTo>
                    <a:lnTo>
                      <a:pt x="318" y="45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9" name="Freeform 294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0" name="Freeform 295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1" name="Freeform 296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2" name="Freeform 297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3" name="Freeform 298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4" name="Freeform 299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5" name="Freeform 300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6" name="Freeform 301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7" name="Freeform 302"/>
              <p:cNvSpPr>
                <a:spLocks/>
              </p:cNvSpPr>
              <p:nvPr userDrawn="1"/>
            </p:nvSpPr>
            <p:spPr bwMode="auto">
              <a:xfrm>
                <a:off x="8907463" y="1500852"/>
                <a:ext cx="998538" cy="2730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03" y="172"/>
                  </a:cxn>
                  <a:cxn ang="0">
                    <a:pos x="629" y="162"/>
                  </a:cxn>
                  <a:cxn ang="0">
                    <a:pos x="629" y="148"/>
                  </a:cxn>
                  <a:cxn ang="0">
                    <a:pos x="0" y="0"/>
                  </a:cxn>
                </a:cxnLst>
                <a:rect l="0" t="0" r="r" b="b"/>
                <a:pathLst>
                  <a:path w="629" h="172">
                    <a:moveTo>
                      <a:pt x="0" y="0"/>
                    </a:moveTo>
                    <a:lnTo>
                      <a:pt x="0" y="0"/>
                    </a:lnTo>
                    <a:lnTo>
                      <a:pt x="103" y="172"/>
                    </a:lnTo>
                    <a:lnTo>
                      <a:pt x="629" y="162"/>
                    </a:lnTo>
                    <a:lnTo>
                      <a:pt x="629" y="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118790" name="Line 6"/>
            <p:cNvSpPr>
              <a:spLocks noChangeShapeType="1"/>
            </p:cNvSpPr>
            <p:nvPr userDrawn="1"/>
          </p:nvSpPr>
          <p:spPr bwMode="auto">
            <a:xfrm flipH="1">
              <a:off x="9436893" y="1844781"/>
              <a:ext cx="469105" cy="5340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1" name="Freeform 7"/>
            <p:cNvSpPr>
              <a:spLocks/>
            </p:cNvSpPr>
            <p:nvPr userDrawn="1"/>
          </p:nvSpPr>
          <p:spPr bwMode="auto">
            <a:xfrm>
              <a:off x="6707187" y="1517650"/>
              <a:ext cx="3189288" cy="3371850"/>
            </a:xfrm>
            <a:custGeom>
              <a:avLst/>
              <a:gdLst>
                <a:gd name="connsiteX0" fmla="*/ 0 w 10000"/>
                <a:gd name="connsiteY0" fmla="*/ 10000 h 10000"/>
                <a:gd name="connsiteX1" fmla="*/ 683 w 10000"/>
                <a:gd name="connsiteY1" fmla="*/ 5766 h 10000"/>
                <a:gd name="connsiteX2" fmla="*/ 4440 w 10000"/>
                <a:gd name="connsiteY2" fmla="*/ 0 h 10000"/>
                <a:gd name="connsiteX3" fmla="*/ 10000 w 10000"/>
                <a:gd name="connsiteY3" fmla="*/ 697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228" y="8589"/>
                    <a:pt x="455" y="7177"/>
                    <a:pt x="683" y="5766"/>
                  </a:cubicBezTo>
                  <a:lnTo>
                    <a:pt x="4440" y="0"/>
                  </a:lnTo>
                  <a:lnTo>
                    <a:pt x="10000" y="69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2" name="Freeform 8"/>
            <p:cNvSpPr>
              <a:spLocks/>
            </p:cNvSpPr>
            <p:nvPr userDrawn="1"/>
          </p:nvSpPr>
          <p:spPr bwMode="auto">
            <a:xfrm>
              <a:off x="8123237" y="1517649"/>
              <a:ext cx="1314476" cy="1950064"/>
            </a:xfrm>
            <a:custGeom>
              <a:avLst/>
              <a:gdLst>
                <a:gd name="connsiteX0" fmla="*/ 3807 w 10000"/>
                <a:gd name="connsiteY0" fmla="*/ 9977 h 9977"/>
                <a:gd name="connsiteX1" fmla="*/ 10000 w 10000"/>
                <a:gd name="connsiteY1" fmla="*/ 5214 h 9977"/>
                <a:gd name="connsiteX2" fmla="*/ 0 w 10000"/>
                <a:gd name="connsiteY2" fmla="*/ 0 h 9977"/>
                <a:gd name="connsiteX0" fmla="*/ 3807 w 10000"/>
                <a:gd name="connsiteY0" fmla="*/ 10000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309 w 10000"/>
                <a:gd name="connsiteY0" fmla="*/ 9348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677 w 10000"/>
                <a:gd name="connsiteY0" fmla="*/ 10753 h 10753"/>
                <a:gd name="connsiteX1" fmla="*/ 10000 w 10000"/>
                <a:gd name="connsiteY1" fmla="*/ 5226 h 10753"/>
                <a:gd name="connsiteX2" fmla="*/ 0 w 10000"/>
                <a:gd name="connsiteY2" fmla="*/ 0 h 10753"/>
                <a:gd name="connsiteX0" fmla="*/ 2677 w 10602"/>
                <a:gd name="connsiteY0" fmla="*/ 10753 h 10753"/>
                <a:gd name="connsiteX1" fmla="*/ 10602 w 10602"/>
                <a:gd name="connsiteY1" fmla="*/ 4781 h 10753"/>
                <a:gd name="connsiteX2" fmla="*/ 0 w 10602"/>
                <a:gd name="connsiteY2" fmla="*/ 0 h 1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02" h="10753">
                  <a:moveTo>
                    <a:pt x="2677" y="10753"/>
                  </a:moveTo>
                  <a:lnTo>
                    <a:pt x="10602" y="478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3" name="Line 9"/>
            <p:cNvSpPr>
              <a:spLocks noChangeShapeType="1"/>
            </p:cNvSpPr>
            <p:nvPr userDrawn="1"/>
          </p:nvSpPr>
          <p:spPr bwMode="auto">
            <a:xfrm>
              <a:off x="6958012" y="3476625"/>
              <a:ext cx="2193925" cy="18557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4" name="Freeform 10"/>
            <p:cNvSpPr>
              <a:spLocks/>
            </p:cNvSpPr>
            <p:nvPr userDrawn="1"/>
          </p:nvSpPr>
          <p:spPr bwMode="auto">
            <a:xfrm>
              <a:off x="979755" y="2067452"/>
              <a:ext cx="8463254" cy="3291094"/>
            </a:xfrm>
            <a:custGeom>
              <a:avLst/>
              <a:gdLst>
                <a:gd name="connsiteX0" fmla="*/ 467 w 10000"/>
                <a:gd name="connsiteY0" fmla="*/ 0 h 9881"/>
                <a:gd name="connsiteX1" fmla="*/ 2027 w 10000"/>
                <a:gd name="connsiteY1" fmla="*/ 3291 h 9881"/>
                <a:gd name="connsiteX2" fmla="*/ 3508 w 10000"/>
                <a:gd name="connsiteY2" fmla="*/ 1076 h 9881"/>
                <a:gd name="connsiteX3" fmla="*/ 7135 w 10000"/>
                <a:gd name="connsiteY3" fmla="*/ 4066 h 9881"/>
                <a:gd name="connsiteX4" fmla="*/ 10000 w 10000"/>
                <a:gd name="connsiteY4" fmla="*/ 1130 h 9881"/>
                <a:gd name="connsiteX5" fmla="*/ 9749 w 10000"/>
                <a:gd name="connsiteY5" fmla="*/ 9453 h 9881"/>
                <a:gd name="connsiteX6" fmla="*/ 8972 w 10000"/>
                <a:gd name="connsiteY6" fmla="*/ 3628 h 9881"/>
                <a:gd name="connsiteX7" fmla="*/ 6836 w 10000"/>
                <a:gd name="connsiteY7" fmla="*/ 8168 h 9881"/>
                <a:gd name="connsiteX8" fmla="*/ 3508 w 10000"/>
                <a:gd name="connsiteY8" fmla="*/ 1076 h 9881"/>
                <a:gd name="connsiteX9" fmla="*/ 5359 w 10000"/>
                <a:gd name="connsiteY9" fmla="*/ 9881 h 9881"/>
                <a:gd name="connsiteX10" fmla="*/ 5359 w 10000"/>
                <a:gd name="connsiteY10" fmla="*/ 9881 h 9881"/>
                <a:gd name="connsiteX11" fmla="*/ 2030 w 10000"/>
                <a:gd name="connsiteY11" fmla="*/ 3255 h 9881"/>
                <a:gd name="connsiteX12" fmla="*/ 0 w 10000"/>
                <a:gd name="connsiteY12" fmla="*/ 9271 h 9881"/>
                <a:gd name="connsiteX13" fmla="*/ 3508 w 10000"/>
                <a:gd name="connsiteY13" fmla="*/ 1076 h 9881"/>
                <a:gd name="connsiteX0" fmla="*/ 467 w 10000"/>
                <a:gd name="connsiteY0" fmla="*/ 0 h 10000"/>
                <a:gd name="connsiteX1" fmla="*/ 2027 w 10000"/>
                <a:gd name="connsiteY1" fmla="*/ 3331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2 w 10000"/>
                <a:gd name="connsiteY11" fmla="*/ 3221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44 w 10000"/>
                <a:gd name="connsiteY11" fmla="*/ 3274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1 w 9994"/>
                <a:gd name="connsiteY0" fmla="*/ 0 h 10000"/>
                <a:gd name="connsiteX1" fmla="*/ 2039 w 9994"/>
                <a:gd name="connsiteY1" fmla="*/ 3257 h 10000"/>
                <a:gd name="connsiteX2" fmla="*/ 3502 w 9994"/>
                <a:gd name="connsiteY2" fmla="*/ 1089 h 10000"/>
                <a:gd name="connsiteX3" fmla="*/ 7129 w 9994"/>
                <a:gd name="connsiteY3" fmla="*/ 4115 h 10000"/>
                <a:gd name="connsiteX4" fmla="*/ 9994 w 9994"/>
                <a:gd name="connsiteY4" fmla="*/ 1144 h 10000"/>
                <a:gd name="connsiteX5" fmla="*/ 9743 w 9994"/>
                <a:gd name="connsiteY5" fmla="*/ 9567 h 10000"/>
                <a:gd name="connsiteX6" fmla="*/ 8966 w 9994"/>
                <a:gd name="connsiteY6" fmla="*/ 3672 h 10000"/>
                <a:gd name="connsiteX7" fmla="*/ 6830 w 9994"/>
                <a:gd name="connsiteY7" fmla="*/ 8266 h 10000"/>
                <a:gd name="connsiteX8" fmla="*/ 3502 w 9994"/>
                <a:gd name="connsiteY8" fmla="*/ 1089 h 10000"/>
                <a:gd name="connsiteX9" fmla="*/ 5353 w 9994"/>
                <a:gd name="connsiteY9" fmla="*/ 10000 h 10000"/>
                <a:gd name="connsiteX10" fmla="*/ 5353 w 9994"/>
                <a:gd name="connsiteY10" fmla="*/ 10000 h 10000"/>
                <a:gd name="connsiteX11" fmla="*/ 2038 w 9994"/>
                <a:gd name="connsiteY11" fmla="*/ 3274 h 10000"/>
                <a:gd name="connsiteX12" fmla="*/ 0 w 9994"/>
                <a:gd name="connsiteY12" fmla="*/ 9312 h 10000"/>
                <a:gd name="connsiteX13" fmla="*/ 3502 w 9994"/>
                <a:gd name="connsiteY13" fmla="*/ 1089 h 10000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9 w 10000"/>
                <a:gd name="connsiteY11" fmla="*/ 3291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43 w 10000"/>
                <a:gd name="connsiteY7" fmla="*/ 823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280"/>
                <a:gd name="connsiteX1" fmla="*/ 2036 w 10000"/>
                <a:gd name="connsiteY1" fmla="*/ 3258 h 10280"/>
                <a:gd name="connsiteX2" fmla="*/ 3504 w 10000"/>
                <a:gd name="connsiteY2" fmla="*/ 1106 h 10280"/>
                <a:gd name="connsiteX3" fmla="*/ 7133 w 10000"/>
                <a:gd name="connsiteY3" fmla="*/ 4132 h 10280"/>
                <a:gd name="connsiteX4" fmla="*/ 10000 w 10000"/>
                <a:gd name="connsiteY4" fmla="*/ 1161 h 10280"/>
                <a:gd name="connsiteX5" fmla="*/ 9749 w 10000"/>
                <a:gd name="connsiteY5" fmla="*/ 9584 h 10280"/>
                <a:gd name="connsiteX6" fmla="*/ 8971 w 10000"/>
                <a:gd name="connsiteY6" fmla="*/ 3689 h 10280"/>
                <a:gd name="connsiteX7" fmla="*/ 6838 w 10000"/>
                <a:gd name="connsiteY7" fmla="*/ 8194 h 10280"/>
                <a:gd name="connsiteX8" fmla="*/ 3504 w 10000"/>
                <a:gd name="connsiteY8" fmla="*/ 1106 h 10280"/>
                <a:gd name="connsiteX9" fmla="*/ 5356 w 10000"/>
                <a:gd name="connsiteY9" fmla="*/ 10017 h 10280"/>
                <a:gd name="connsiteX10" fmla="*/ 5431 w 10000"/>
                <a:gd name="connsiteY10" fmla="*/ 10280 h 10280"/>
                <a:gd name="connsiteX11" fmla="*/ 2032 w 10000"/>
                <a:gd name="connsiteY11" fmla="*/ 3324 h 10280"/>
                <a:gd name="connsiteX12" fmla="*/ 0 w 10000"/>
                <a:gd name="connsiteY12" fmla="*/ 9329 h 10280"/>
                <a:gd name="connsiteX13" fmla="*/ 3504 w 10000"/>
                <a:gd name="connsiteY13" fmla="*/ 1106 h 10280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9584"/>
                <a:gd name="connsiteX1" fmla="*/ 2036 w 10000"/>
                <a:gd name="connsiteY1" fmla="*/ 3258 h 9584"/>
                <a:gd name="connsiteX2" fmla="*/ 3504 w 10000"/>
                <a:gd name="connsiteY2" fmla="*/ 1106 h 9584"/>
                <a:gd name="connsiteX3" fmla="*/ 7133 w 10000"/>
                <a:gd name="connsiteY3" fmla="*/ 4132 h 9584"/>
                <a:gd name="connsiteX4" fmla="*/ 10000 w 10000"/>
                <a:gd name="connsiteY4" fmla="*/ 1161 h 9584"/>
                <a:gd name="connsiteX5" fmla="*/ 9749 w 10000"/>
                <a:gd name="connsiteY5" fmla="*/ 9584 h 9584"/>
                <a:gd name="connsiteX6" fmla="*/ 8971 w 10000"/>
                <a:gd name="connsiteY6" fmla="*/ 3689 h 9584"/>
                <a:gd name="connsiteX7" fmla="*/ 6838 w 10000"/>
                <a:gd name="connsiteY7" fmla="*/ 8194 h 9584"/>
                <a:gd name="connsiteX8" fmla="*/ 3504 w 10000"/>
                <a:gd name="connsiteY8" fmla="*/ 1106 h 9584"/>
                <a:gd name="connsiteX9" fmla="*/ 5297 w 10000"/>
                <a:gd name="connsiteY9" fmla="*/ 9538 h 9584"/>
                <a:gd name="connsiteX10" fmla="*/ 2032 w 10000"/>
                <a:gd name="connsiteY10" fmla="*/ 3324 h 9584"/>
                <a:gd name="connsiteX11" fmla="*/ 0 w 10000"/>
                <a:gd name="connsiteY11" fmla="*/ 9329 h 9584"/>
                <a:gd name="connsiteX12" fmla="*/ 3504 w 10000"/>
                <a:gd name="connsiteY12" fmla="*/ 1106 h 9584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10 w 10000"/>
                <a:gd name="connsiteY12" fmla="*/ 114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97 w 10000"/>
                <a:gd name="connsiteY6" fmla="*/ 3793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68 w 10000"/>
                <a:gd name="connsiteY6" fmla="*/ 38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9952"/>
                <a:gd name="connsiteX1" fmla="*/ 2036 w 10000"/>
                <a:gd name="connsiteY1" fmla="*/ 3399 h 9952"/>
                <a:gd name="connsiteX2" fmla="*/ 3504 w 10000"/>
                <a:gd name="connsiteY2" fmla="*/ 1154 h 9952"/>
                <a:gd name="connsiteX3" fmla="*/ 7133 w 10000"/>
                <a:gd name="connsiteY3" fmla="*/ 4311 h 9952"/>
                <a:gd name="connsiteX4" fmla="*/ 10000 w 10000"/>
                <a:gd name="connsiteY4" fmla="*/ 1211 h 9952"/>
                <a:gd name="connsiteX5" fmla="*/ 9786 w 10000"/>
                <a:gd name="connsiteY5" fmla="*/ 9909 h 9952"/>
                <a:gd name="connsiteX6" fmla="*/ 8915 w 10000"/>
                <a:gd name="connsiteY6" fmla="*/ 4284 h 9952"/>
                <a:gd name="connsiteX7" fmla="*/ 6838 w 10000"/>
                <a:gd name="connsiteY7" fmla="*/ 8550 h 9952"/>
                <a:gd name="connsiteX8" fmla="*/ 3525 w 10000"/>
                <a:gd name="connsiteY8" fmla="*/ 1183 h 9952"/>
                <a:gd name="connsiteX9" fmla="*/ 5297 w 10000"/>
                <a:gd name="connsiteY9" fmla="*/ 9952 h 9952"/>
                <a:gd name="connsiteX10" fmla="*/ 2032 w 10000"/>
                <a:gd name="connsiteY10" fmla="*/ 3468 h 9952"/>
                <a:gd name="connsiteX11" fmla="*/ 0 w 10000"/>
                <a:gd name="connsiteY11" fmla="*/ 9734 h 9952"/>
                <a:gd name="connsiteX12" fmla="*/ 3504 w 10000"/>
                <a:gd name="connsiteY12" fmla="*/ 1151 h 9952"/>
                <a:gd name="connsiteX0" fmla="*/ 487 w 10103"/>
                <a:gd name="connsiteY0" fmla="*/ 0 h 10000"/>
                <a:gd name="connsiteX1" fmla="*/ 2036 w 10103"/>
                <a:gd name="connsiteY1" fmla="*/ 3415 h 10000"/>
                <a:gd name="connsiteX2" fmla="*/ 3504 w 10103"/>
                <a:gd name="connsiteY2" fmla="*/ 1160 h 10000"/>
                <a:gd name="connsiteX3" fmla="*/ 7133 w 10103"/>
                <a:gd name="connsiteY3" fmla="*/ 4332 h 10000"/>
                <a:gd name="connsiteX4" fmla="*/ 10103 w 10103"/>
                <a:gd name="connsiteY4" fmla="*/ 970 h 10000"/>
                <a:gd name="connsiteX5" fmla="*/ 9786 w 10103"/>
                <a:gd name="connsiteY5" fmla="*/ 9957 h 10000"/>
                <a:gd name="connsiteX6" fmla="*/ 8915 w 10103"/>
                <a:gd name="connsiteY6" fmla="*/ 4305 h 10000"/>
                <a:gd name="connsiteX7" fmla="*/ 6838 w 10103"/>
                <a:gd name="connsiteY7" fmla="*/ 8591 h 10000"/>
                <a:gd name="connsiteX8" fmla="*/ 3525 w 10103"/>
                <a:gd name="connsiteY8" fmla="*/ 1189 h 10000"/>
                <a:gd name="connsiteX9" fmla="*/ 5297 w 10103"/>
                <a:gd name="connsiteY9" fmla="*/ 10000 h 10000"/>
                <a:gd name="connsiteX10" fmla="*/ 2032 w 10103"/>
                <a:gd name="connsiteY10" fmla="*/ 3485 h 10000"/>
                <a:gd name="connsiteX11" fmla="*/ 0 w 10103"/>
                <a:gd name="connsiteY11" fmla="*/ 9781 h 10000"/>
                <a:gd name="connsiteX12" fmla="*/ 3504 w 10103"/>
                <a:gd name="connsiteY12" fmla="*/ 1157 h 10000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03" h="10072">
                  <a:moveTo>
                    <a:pt x="487" y="0"/>
                  </a:moveTo>
                  <a:lnTo>
                    <a:pt x="2036" y="3415"/>
                  </a:lnTo>
                  <a:lnTo>
                    <a:pt x="3504" y="1160"/>
                  </a:lnTo>
                  <a:lnTo>
                    <a:pt x="7133" y="4332"/>
                  </a:lnTo>
                  <a:lnTo>
                    <a:pt x="10103" y="970"/>
                  </a:lnTo>
                  <a:cubicBezTo>
                    <a:pt x="10019" y="3914"/>
                    <a:pt x="9884" y="7128"/>
                    <a:pt x="9800" y="10072"/>
                  </a:cubicBezTo>
                  <a:cubicBezTo>
                    <a:pt x="9521" y="8106"/>
                    <a:pt x="8989" y="4756"/>
                    <a:pt x="8915" y="4305"/>
                  </a:cubicBezTo>
                  <a:lnTo>
                    <a:pt x="6838" y="8591"/>
                  </a:lnTo>
                  <a:lnTo>
                    <a:pt x="3525" y="1189"/>
                  </a:lnTo>
                  <a:cubicBezTo>
                    <a:pt x="3636" y="1697"/>
                    <a:pt x="5175" y="9512"/>
                    <a:pt x="5297" y="10000"/>
                  </a:cubicBezTo>
                  <a:cubicBezTo>
                    <a:pt x="5259" y="9913"/>
                    <a:pt x="2743" y="4942"/>
                    <a:pt x="2032" y="3485"/>
                  </a:cubicBezTo>
                  <a:lnTo>
                    <a:pt x="0" y="9781"/>
                  </a:lnTo>
                  <a:lnTo>
                    <a:pt x="3504" y="115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5" name="Freeform 11"/>
            <p:cNvSpPr>
              <a:spLocks/>
            </p:cNvSpPr>
            <p:nvPr userDrawn="1"/>
          </p:nvSpPr>
          <p:spPr bwMode="auto">
            <a:xfrm>
              <a:off x="1374775" y="2047876"/>
              <a:ext cx="7793037" cy="3284538"/>
            </a:xfrm>
            <a:custGeom>
              <a:avLst/>
              <a:gdLst>
                <a:gd name="connsiteX0" fmla="*/ 0 w 10000"/>
                <a:gd name="connsiteY0" fmla="*/ 0 h 10000"/>
                <a:gd name="connsiteX1" fmla="*/ 1942 w 10000"/>
                <a:gd name="connsiteY1" fmla="*/ 8391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087 w 10000"/>
                <a:gd name="connsiteY5" fmla="*/ 3984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81 w 10000"/>
                <a:gd name="connsiteY5" fmla="*/ 3872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32 w 10000"/>
                <a:gd name="connsiteY5" fmla="*/ 39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0 w 10000"/>
                <a:gd name="connsiteY5" fmla="*/ 43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7 w 10000"/>
                <a:gd name="connsiteY5" fmla="*/ 43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82 w 10000"/>
                <a:gd name="connsiteY5" fmla="*/ 4248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03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42 w 10000"/>
                <a:gd name="connsiteY1" fmla="*/ 8411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51 w 10000"/>
                <a:gd name="connsiteY1" fmla="*/ 8400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6 w 10000"/>
                <a:gd name="connsiteY1" fmla="*/ 840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35 w 10000"/>
                <a:gd name="connsiteY1" fmla="*/ 836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9 w 10000"/>
                <a:gd name="connsiteY1" fmla="*/ 8327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929" y="8327"/>
                  </a:lnTo>
                  <a:lnTo>
                    <a:pt x="3266" y="1183"/>
                  </a:lnTo>
                  <a:lnTo>
                    <a:pt x="5550" y="6643"/>
                  </a:lnTo>
                  <a:cubicBezTo>
                    <a:pt x="5670" y="5614"/>
                    <a:pt x="5775" y="5035"/>
                    <a:pt x="5895" y="4006"/>
                  </a:cubicBezTo>
                  <a:lnTo>
                    <a:pt x="8195" y="3986"/>
                  </a:lnTo>
                  <a:lnTo>
                    <a:pt x="9069" y="4348"/>
                  </a:lnTo>
                  <a:lnTo>
                    <a:pt x="5535" y="6646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6" name="Line 12"/>
            <p:cNvSpPr>
              <a:spLocks noChangeShapeType="1"/>
            </p:cNvSpPr>
            <p:nvPr userDrawn="1"/>
          </p:nvSpPr>
          <p:spPr bwMode="auto">
            <a:xfrm flipH="1" flipV="1">
              <a:off x="5965824" y="3363913"/>
              <a:ext cx="739775" cy="149860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7" name="Line 13"/>
            <p:cNvSpPr>
              <a:spLocks noChangeShapeType="1"/>
            </p:cNvSpPr>
            <p:nvPr userDrawn="1"/>
          </p:nvSpPr>
          <p:spPr bwMode="auto">
            <a:xfrm flipH="1" flipV="1">
              <a:off x="2873375" y="4785677"/>
              <a:ext cx="2534444" cy="53022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8" name="Freeform 14"/>
            <p:cNvSpPr>
              <a:spLocks/>
            </p:cNvSpPr>
            <p:nvPr userDrawn="1"/>
          </p:nvSpPr>
          <p:spPr bwMode="auto">
            <a:xfrm>
              <a:off x="9442445" y="2384680"/>
              <a:ext cx="458797" cy="774168"/>
            </a:xfrm>
            <a:custGeom>
              <a:avLst/>
              <a:gdLst>
                <a:gd name="connsiteX0" fmla="*/ 8512 w 8512"/>
                <a:gd name="connsiteY0" fmla="*/ 10921 h 10921"/>
                <a:gd name="connsiteX1" fmla="*/ 0 w 8512"/>
                <a:gd name="connsiteY1" fmla="*/ 0 h 10921"/>
                <a:gd name="connsiteX2" fmla="*/ 8512 w 8512"/>
                <a:gd name="connsiteY2" fmla="*/ 2461 h 10921"/>
                <a:gd name="connsiteX0" fmla="*/ 9948 w 10000"/>
                <a:gd name="connsiteY0" fmla="*/ 7966 h 7966"/>
                <a:gd name="connsiteX1" fmla="*/ 0 w 10000"/>
                <a:gd name="connsiteY1" fmla="*/ 0 h 7966"/>
                <a:gd name="connsiteX2" fmla="*/ 10000 w 10000"/>
                <a:gd name="connsiteY2" fmla="*/ 2253 h 7966"/>
                <a:gd name="connsiteX0" fmla="*/ 10105 w 10105"/>
                <a:gd name="connsiteY0" fmla="*/ 10155 h 10155"/>
                <a:gd name="connsiteX1" fmla="*/ 0 w 10105"/>
                <a:gd name="connsiteY1" fmla="*/ 0 h 10155"/>
                <a:gd name="connsiteX2" fmla="*/ 10000 w 10105"/>
                <a:gd name="connsiteY2" fmla="*/ 2828 h 10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05" h="10155">
                  <a:moveTo>
                    <a:pt x="10105" y="10155"/>
                  </a:moveTo>
                  <a:lnTo>
                    <a:pt x="0" y="0"/>
                  </a:lnTo>
                  <a:lnTo>
                    <a:pt x="10000" y="2828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9" name="Line 15"/>
            <p:cNvSpPr>
              <a:spLocks noChangeShapeType="1"/>
            </p:cNvSpPr>
            <p:nvPr userDrawn="1"/>
          </p:nvSpPr>
          <p:spPr bwMode="auto">
            <a:xfrm flipV="1">
              <a:off x="9151937" y="4446588"/>
              <a:ext cx="744538" cy="90805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0" name="Line 16"/>
            <p:cNvSpPr>
              <a:spLocks noChangeShapeType="1"/>
            </p:cNvSpPr>
            <p:nvPr userDrawn="1"/>
          </p:nvSpPr>
          <p:spPr bwMode="auto">
            <a:xfrm flipH="1" flipV="1">
              <a:off x="8453438" y="3474243"/>
              <a:ext cx="1452562" cy="2643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1" name="Line 17"/>
            <p:cNvSpPr>
              <a:spLocks noChangeShapeType="1"/>
            </p:cNvSpPr>
            <p:nvPr userDrawn="1"/>
          </p:nvSpPr>
          <p:spPr bwMode="auto">
            <a:xfrm flipV="1">
              <a:off x="6705600" y="4073524"/>
              <a:ext cx="3190875" cy="79613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2" name="Freeform 18"/>
            <p:cNvSpPr>
              <a:spLocks/>
            </p:cNvSpPr>
            <p:nvPr userDrawn="1"/>
          </p:nvSpPr>
          <p:spPr bwMode="auto">
            <a:xfrm>
              <a:off x="347662" y="3211751"/>
              <a:ext cx="5618163" cy="1596787"/>
            </a:xfrm>
            <a:custGeom>
              <a:avLst/>
              <a:gdLst>
                <a:gd name="connsiteX0" fmla="*/ 10000 w 10000"/>
                <a:gd name="connsiteY0" fmla="*/ 563 h 5851"/>
                <a:gd name="connsiteX1" fmla="*/ 4496 w 10000"/>
                <a:gd name="connsiteY1" fmla="*/ 5851 h 5851"/>
                <a:gd name="connsiteX2" fmla="*/ 4134 w 10000"/>
                <a:gd name="connsiteY2" fmla="*/ 0 h 5851"/>
                <a:gd name="connsiteX3" fmla="*/ 0 w 10000"/>
                <a:gd name="connsiteY3" fmla="*/ 3771 h 5851"/>
                <a:gd name="connsiteX0" fmla="*/ 10000 w 10000"/>
                <a:gd name="connsiteY0" fmla="*/ 951 h 9989"/>
                <a:gd name="connsiteX1" fmla="*/ 4496 w 10000"/>
                <a:gd name="connsiteY1" fmla="*/ 9989 h 9989"/>
                <a:gd name="connsiteX2" fmla="*/ 4162 w 10000"/>
                <a:gd name="connsiteY2" fmla="*/ 0 h 9989"/>
                <a:gd name="connsiteX3" fmla="*/ 0 w 10000"/>
                <a:gd name="connsiteY3" fmla="*/ 6434 h 9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89">
                  <a:moveTo>
                    <a:pt x="10000" y="951"/>
                  </a:moveTo>
                  <a:lnTo>
                    <a:pt x="4496" y="9989"/>
                  </a:lnTo>
                  <a:cubicBezTo>
                    <a:pt x="4375" y="6656"/>
                    <a:pt x="4283" y="3333"/>
                    <a:pt x="4162" y="0"/>
                  </a:cubicBezTo>
                  <a:lnTo>
                    <a:pt x="0" y="643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3" name="Oval 19"/>
            <p:cNvSpPr>
              <a:spLocks noChangeArrowheads="1"/>
            </p:cNvSpPr>
            <p:nvPr userDrawn="1"/>
          </p:nvSpPr>
          <p:spPr bwMode="auto">
            <a:xfrm>
              <a:off x="6866734" y="3409950"/>
              <a:ext cx="133200" cy="13335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4" name="Oval 20"/>
            <p:cNvSpPr>
              <a:spLocks noChangeArrowheads="1"/>
            </p:cNvSpPr>
            <p:nvPr userDrawn="1"/>
          </p:nvSpPr>
          <p:spPr bwMode="auto">
            <a:xfrm>
              <a:off x="8075612" y="1470025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5" name="Oval 21"/>
            <p:cNvSpPr>
              <a:spLocks noChangeArrowheads="1"/>
            </p:cNvSpPr>
            <p:nvPr userDrawn="1"/>
          </p:nvSpPr>
          <p:spPr bwMode="auto">
            <a:xfrm>
              <a:off x="6656387" y="4826002"/>
              <a:ext cx="98425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6" name="Oval 22"/>
            <p:cNvSpPr>
              <a:spLocks noChangeArrowheads="1"/>
            </p:cNvSpPr>
            <p:nvPr userDrawn="1"/>
          </p:nvSpPr>
          <p:spPr bwMode="auto">
            <a:xfrm>
              <a:off x="9394034" y="2331543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7" name="Freeform 23"/>
            <p:cNvSpPr>
              <a:spLocks/>
            </p:cNvSpPr>
            <p:nvPr userDrawn="1"/>
          </p:nvSpPr>
          <p:spPr bwMode="auto">
            <a:xfrm>
              <a:off x="5338724" y="5262629"/>
              <a:ext cx="150813" cy="151200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29" y="3"/>
                </a:cxn>
                <a:cxn ang="0">
                  <a:pos x="44" y="19"/>
                </a:cxn>
                <a:cxn ang="0">
                  <a:pos x="19" y="44"/>
                </a:cxn>
                <a:cxn ang="0">
                  <a:pos x="4" y="28"/>
                </a:cxn>
              </a:cxnLst>
              <a:rect l="0" t="0" r="r" b="b"/>
              <a:pathLst>
                <a:path w="48" h="47">
                  <a:moveTo>
                    <a:pt x="4" y="28"/>
                  </a:moveTo>
                  <a:cubicBezTo>
                    <a:pt x="0" y="13"/>
                    <a:pt x="14" y="0"/>
                    <a:pt x="29" y="3"/>
                  </a:cubicBezTo>
                  <a:cubicBezTo>
                    <a:pt x="36" y="5"/>
                    <a:pt x="43" y="11"/>
                    <a:pt x="44" y="19"/>
                  </a:cubicBezTo>
                  <a:cubicBezTo>
                    <a:pt x="48" y="34"/>
                    <a:pt x="34" y="47"/>
                    <a:pt x="19" y="44"/>
                  </a:cubicBezTo>
                  <a:cubicBezTo>
                    <a:pt x="12" y="42"/>
                    <a:pt x="5" y="36"/>
                    <a:pt x="4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8" name="Freeform 24"/>
            <p:cNvSpPr>
              <a:spLocks/>
            </p:cNvSpPr>
            <p:nvPr userDrawn="1"/>
          </p:nvSpPr>
          <p:spPr bwMode="auto">
            <a:xfrm>
              <a:off x="1304925" y="2009775"/>
              <a:ext cx="112713" cy="115888"/>
            </a:xfrm>
            <a:custGeom>
              <a:avLst/>
              <a:gdLst/>
              <a:ahLst/>
              <a:cxnLst>
                <a:cxn ang="0">
                  <a:pos x="3" y="23"/>
                </a:cxn>
                <a:cxn ang="0">
                  <a:pos x="22" y="3"/>
                </a:cxn>
                <a:cxn ang="0">
                  <a:pos x="33" y="14"/>
                </a:cxn>
                <a:cxn ang="0">
                  <a:pos x="13" y="33"/>
                </a:cxn>
                <a:cxn ang="0">
                  <a:pos x="3" y="23"/>
                </a:cxn>
              </a:cxnLst>
              <a:rect l="0" t="0" r="r" b="b"/>
              <a:pathLst>
                <a:path w="36" h="37">
                  <a:moveTo>
                    <a:pt x="3" y="23"/>
                  </a:moveTo>
                  <a:cubicBezTo>
                    <a:pt x="0" y="11"/>
                    <a:pt x="10" y="0"/>
                    <a:pt x="22" y="3"/>
                  </a:cubicBezTo>
                  <a:cubicBezTo>
                    <a:pt x="27" y="5"/>
                    <a:pt x="31" y="9"/>
                    <a:pt x="33" y="14"/>
                  </a:cubicBezTo>
                  <a:cubicBezTo>
                    <a:pt x="36" y="26"/>
                    <a:pt x="25" y="37"/>
                    <a:pt x="13" y="33"/>
                  </a:cubicBezTo>
                  <a:cubicBezTo>
                    <a:pt x="8" y="32"/>
                    <a:pt x="4" y="28"/>
                    <a:pt x="3" y="2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9" name="Oval 25"/>
            <p:cNvSpPr>
              <a:spLocks noChangeArrowheads="1"/>
            </p:cNvSpPr>
            <p:nvPr userDrawn="1"/>
          </p:nvSpPr>
          <p:spPr bwMode="auto">
            <a:xfrm>
              <a:off x="2622550" y="3143250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0" name="Freeform 26"/>
            <p:cNvSpPr>
              <a:spLocks/>
            </p:cNvSpPr>
            <p:nvPr userDrawn="1"/>
          </p:nvSpPr>
          <p:spPr bwMode="auto">
            <a:xfrm>
              <a:off x="928686" y="5207795"/>
              <a:ext cx="115200" cy="115200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19" y="1"/>
                </a:cxn>
                <a:cxn ang="0">
                  <a:pos x="32" y="14"/>
                </a:cxn>
                <a:cxn ang="0">
                  <a:pos x="14" y="31"/>
                </a:cxn>
                <a:cxn ang="0">
                  <a:pos x="2" y="19"/>
                </a:cxn>
              </a:cxnLst>
              <a:rect l="0" t="0" r="r" b="b"/>
              <a:pathLst>
                <a:path w="34" h="33">
                  <a:moveTo>
                    <a:pt x="2" y="19"/>
                  </a:moveTo>
                  <a:cubicBezTo>
                    <a:pt x="0" y="8"/>
                    <a:pt x="9" y="0"/>
                    <a:pt x="19" y="1"/>
                  </a:cubicBezTo>
                  <a:cubicBezTo>
                    <a:pt x="26" y="2"/>
                    <a:pt x="31" y="7"/>
                    <a:pt x="32" y="14"/>
                  </a:cubicBezTo>
                  <a:cubicBezTo>
                    <a:pt x="34" y="24"/>
                    <a:pt x="25" y="33"/>
                    <a:pt x="14" y="31"/>
                  </a:cubicBezTo>
                  <a:cubicBezTo>
                    <a:pt x="8" y="30"/>
                    <a:pt x="3" y="25"/>
                    <a:pt x="2" y="1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1" name="Oval 27"/>
            <p:cNvSpPr>
              <a:spLocks noChangeArrowheads="1"/>
            </p:cNvSpPr>
            <p:nvPr userDrawn="1"/>
          </p:nvSpPr>
          <p:spPr bwMode="auto">
            <a:xfrm>
              <a:off x="306387" y="4192588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2" name="Oval 28"/>
            <p:cNvSpPr>
              <a:spLocks noChangeArrowheads="1"/>
            </p:cNvSpPr>
            <p:nvPr userDrawn="1"/>
          </p:nvSpPr>
          <p:spPr bwMode="auto">
            <a:xfrm>
              <a:off x="8418190" y="3438880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3" name="Oval 29"/>
            <p:cNvSpPr>
              <a:spLocks noChangeArrowheads="1"/>
            </p:cNvSpPr>
            <p:nvPr userDrawn="1"/>
          </p:nvSpPr>
          <p:spPr bwMode="auto">
            <a:xfrm>
              <a:off x="5916612" y="3313113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4" name="Oval 30"/>
            <p:cNvSpPr>
              <a:spLocks noChangeArrowheads="1"/>
            </p:cNvSpPr>
            <p:nvPr userDrawn="1"/>
          </p:nvSpPr>
          <p:spPr bwMode="auto">
            <a:xfrm>
              <a:off x="5650757" y="4177208"/>
              <a:ext cx="97200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5" name="Oval 31"/>
            <p:cNvSpPr>
              <a:spLocks noChangeArrowheads="1"/>
            </p:cNvSpPr>
            <p:nvPr userDrawn="1"/>
          </p:nvSpPr>
          <p:spPr bwMode="auto">
            <a:xfrm>
              <a:off x="3881437" y="2411413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6" name="Oval 32"/>
            <p:cNvSpPr>
              <a:spLocks noChangeArrowheads="1"/>
            </p:cNvSpPr>
            <p:nvPr userDrawn="1"/>
          </p:nvSpPr>
          <p:spPr bwMode="auto">
            <a:xfrm>
              <a:off x="9106692" y="5260976"/>
              <a:ext cx="128588" cy="12858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7" name="Oval 33"/>
            <p:cNvSpPr>
              <a:spLocks noChangeArrowheads="1"/>
            </p:cNvSpPr>
            <p:nvPr userDrawn="1"/>
          </p:nvSpPr>
          <p:spPr bwMode="auto">
            <a:xfrm>
              <a:off x="2843211" y="4761708"/>
              <a:ext cx="68400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8" name="Line 34"/>
            <p:cNvSpPr>
              <a:spLocks noChangeShapeType="1"/>
            </p:cNvSpPr>
            <p:nvPr userDrawn="1"/>
          </p:nvSpPr>
          <p:spPr bwMode="auto">
            <a:xfrm flipV="1">
              <a:off x="976313" y="4783930"/>
              <a:ext cx="1895475" cy="4548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9" name="Line 35"/>
            <p:cNvSpPr>
              <a:spLocks noChangeShapeType="1"/>
            </p:cNvSpPr>
            <p:nvPr userDrawn="1"/>
          </p:nvSpPr>
          <p:spPr bwMode="auto">
            <a:xfrm>
              <a:off x="4835525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0" name="Line 36"/>
            <p:cNvSpPr>
              <a:spLocks noChangeShapeType="1"/>
            </p:cNvSpPr>
            <p:nvPr userDrawn="1"/>
          </p:nvSpPr>
          <p:spPr bwMode="auto">
            <a:xfrm>
              <a:off x="339248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1" name="Freeform 37"/>
            <p:cNvSpPr>
              <a:spLocks/>
            </p:cNvSpPr>
            <p:nvPr userDrawn="1"/>
          </p:nvSpPr>
          <p:spPr bwMode="auto">
            <a:xfrm>
              <a:off x="1731962" y="4784672"/>
              <a:ext cx="1660525" cy="1128766"/>
            </a:xfrm>
            <a:custGeom>
              <a:avLst/>
              <a:gdLst>
                <a:gd name="connsiteX0" fmla="*/ 0 w 10000"/>
                <a:gd name="connsiteY0" fmla="*/ 10216 h 10216"/>
                <a:gd name="connsiteX1" fmla="*/ 6874 w 10000"/>
                <a:gd name="connsiteY1" fmla="*/ 0 h 10216"/>
                <a:gd name="connsiteX2" fmla="*/ 10000 w 10000"/>
                <a:gd name="connsiteY2" fmla="*/ 10216 h 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216">
                  <a:moveTo>
                    <a:pt x="0" y="10216"/>
                  </a:moveTo>
                  <a:lnTo>
                    <a:pt x="6874" y="0"/>
                  </a:lnTo>
                  <a:lnTo>
                    <a:pt x="10000" y="10216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2" name="Line 38"/>
            <p:cNvSpPr>
              <a:spLocks noChangeShapeType="1"/>
            </p:cNvSpPr>
            <p:nvPr userDrawn="1"/>
          </p:nvSpPr>
          <p:spPr bwMode="auto">
            <a:xfrm>
              <a:off x="1731962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3" name="Line 39"/>
            <p:cNvSpPr>
              <a:spLocks noChangeShapeType="1"/>
            </p:cNvSpPr>
            <p:nvPr userDrawn="1"/>
          </p:nvSpPr>
          <p:spPr bwMode="auto">
            <a:xfrm>
              <a:off x="135413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4" name="Freeform 40"/>
            <p:cNvSpPr>
              <a:spLocks/>
            </p:cNvSpPr>
            <p:nvPr userDrawn="1"/>
          </p:nvSpPr>
          <p:spPr bwMode="auto">
            <a:xfrm>
              <a:off x="-27638" y="2057399"/>
              <a:ext cx="1385135" cy="2157416"/>
            </a:xfrm>
            <a:custGeom>
              <a:avLst/>
              <a:gdLst>
                <a:gd name="connsiteX0" fmla="*/ 114 w 10000"/>
                <a:gd name="connsiteY0" fmla="*/ 9569 h 10000"/>
                <a:gd name="connsiteX1" fmla="*/ 2650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4938 h 10000"/>
                <a:gd name="connsiteX0" fmla="*/ 114 w 10000"/>
                <a:gd name="connsiteY0" fmla="*/ 9569 h 9898"/>
                <a:gd name="connsiteX1" fmla="*/ 2622 w 10000"/>
                <a:gd name="connsiteY1" fmla="*/ 9898 h 9898"/>
                <a:gd name="connsiteX2" fmla="*/ 10000 w 10000"/>
                <a:gd name="connsiteY2" fmla="*/ 0 h 9898"/>
                <a:gd name="connsiteX3" fmla="*/ 0 w 10000"/>
                <a:gd name="connsiteY3" fmla="*/ 4938 h 9898"/>
                <a:gd name="connsiteX0" fmla="*/ 201 w 10087"/>
                <a:gd name="connsiteY0" fmla="*/ 9668 h 10000"/>
                <a:gd name="connsiteX1" fmla="*/ 2709 w 10087"/>
                <a:gd name="connsiteY1" fmla="*/ 10000 h 10000"/>
                <a:gd name="connsiteX2" fmla="*/ 10087 w 10087"/>
                <a:gd name="connsiteY2" fmla="*/ 0 h 10000"/>
                <a:gd name="connsiteX3" fmla="*/ 0 w 10087"/>
                <a:gd name="connsiteY3" fmla="*/ 4989 h 10000"/>
                <a:gd name="connsiteX0" fmla="*/ 201 w 10087"/>
                <a:gd name="connsiteY0" fmla="*/ 9668 h 9971"/>
                <a:gd name="connsiteX1" fmla="*/ 2802 w 10087"/>
                <a:gd name="connsiteY1" fmla="*/ 9971 h 9971"/>
                <a:gd name="connsiteX2" fmla="*/ 10087 w 10087"/>
                <a:gd name="connsiteY2" fmla="*/ 0 h 9971"/>
                <a:gd name="connsiteX3" fmla="*/ 0 w 10087"/>
                <a:gd name="connsiteY3" fmla="*/ 4989 h 9971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00 w 10000"/>
                <a:gd name="connsiteY1" fmla="*/ 969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0000"/>
                <a:gd name="connsiteX1" fmla="*/ 200 w 10000"/>
                <a:gd name="connsiteY1" fmla="*/ 9362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34 w 10000"/>
                <a:gd name="connsiteY1" fmla="*/ 967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233" y="9681"/>
                  </a:moveTo>
                  <a:cubicBezTo>
                    <a:pt x="239" y="9681"/>
                    <a:pt x="228" y="9675"/>
                    <a:pt x="234" y="9675"/>
                  </a:cubicBezTo>
                  <a:lnTo>
                    <a:pt x="2778" y="10000"/>
                  </a:lnTo>
                  <a:lnTo>
                    <a:pt x="10000" y="0"/>
                  </a:lnTo>
                  <a:lnTo>
                    <a:pt x="0" y="500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5" name="Freeform 41"/>
            <p:cNvSpPr>
              <a:spLocks/>
            </p:cNvSpPr>
            <p:nvPr userDrawn="1"/>
          </p:nvSpPr>
          <p:spPr bwMode="auto">
            <a:xfrm>
              <a:off x="-11113" y="4022726"/>
              <a:ext cx="5720328" cy="1232220"/>
            </a:xfrm>
            <a:custGeom>
              <a:avLst/>
              <a:gdLst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63 w 10000"/>
                <a:gd name="connsiteY3" fmla="*/ 6298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32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200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0 w 10000"/>
                <a:gd name="connsiteY3" fmla="*/ 628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080 w 10040"/>
                <a:gd name="connsiteY3" fmla="*/ 6285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101 w 10040"/>
                <a:gd name="connsiteY3" fmla="*/ 6198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9914"/>
                <a:gd name="connsiteX1" fmla="*/ 1746 w 10040"/>
                <a:gd name="connsiteY1" fmla="*/ 9914 h 9914"/>
                <a:gd name="connsiteX2" fmla="*/ 635 w 10040"/>
                <a:gd name="connsiteY2" fmla="*/ 1743 h 9914"/>
                <a:gd name="connsiteX3" fmla="*/ 5101 w 10040"/>
                <a:gd name="connsiteY3" fmla="*/ 6198 h 9914"/>
                <a:gd name="connsiteX4" fmla="*/ 10040 w 10040"/>
                <a:gd name="connsiteY4" fmla="*/ 1627 h 9914"/>
                <a:gd name="connsiteX5" fmla="*/ 0 w 10040"/>
                <a:gd name="connsiteY5" fmla="*/ 0 h 9914"/>
                <a:gd name="connsiteX0" fmla="*/ 0 w 10000"/>
                <a:gd name="connsiteY0" fmla="*/ 4954 h 9961"/>
                <a:gd name="connsiteX1" fmla="*/ 1744 w 10000"/>
                <a:gd name="connsiteY1" fmla="*/ 9961 h 9961"/>
                <a:gd name="connsiteX2" fmla="*/ 632 w 10000"/>
                <a:gd name="connsiteY2" fmla="*/ 1758 h 9961"/>
                <a:gd name="connsiteX3" fmla="*/ 5081 w 10000"/>
                <a:gd name="connsiteY3" fmla="*/ 6252 h 9961"/>
                <a:gd name="connsiteX4" fmla="*/ 10000 w 10000"/>
                <a:gd name="connsiteY4" fmla="*/ 1641 h 9961"/>
                <a:gd name="connsiteX5" fmla="*/ 0 w 10000"/>
                <a:gd name="connsiteY5" fmla="*/ 0 h 9961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5081 w 10000"/>
                <a:gd name="connsiteY3" fmla="*/ 6276 h 10000"/>
                <a:gd name="connsiteX4" fmla="*/ 10000 w 10000"/>
                <a:gd name="connsiteY4" fmla="*/ 1647 h 10000"/>
                <a:gd name="connsiteX5" fmla="*/ 0 w 10000"/>
                <a:gd name="connsiteY5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636 w 10000"/>
                <a:gd name="connsiteY3" fmla="*/ 3948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47 w 10000"/>
                <a:gd name="connsiteY3" fmla="*/ 3840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0">
                  <a:moveTo>
                    <a:pt x="0" y="4973"/>
                  </a:moveTo>
                  <a:lnTo>
                    <a:pt x="1744" y="10000"/>
                  </a:lnTo>
                  <a:lnTo>
                    <a:pt x="646" y="1733"/>
                  </a:lnTo>
                  <a:cubicBezTo>
                    <a:pt x="1196" y="2303"/>
                    <a:pt x="1785" y="2965"/>
                    <a:pt x="2564" y="3859"/>
                  </a:cubicBezTo>
                  <a:cubicBezTo>
                    <a:pt x="2715" y="4015"/>
                    <a:pt x="3904" y="5054"/>
                    <a:pt x="5081" y="6276"/>
                  </a:cubicBezTo>
                  <a:lnTo>
                    <a:pt x="10000" y="164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6" name="Freeform 42"/>
            <p:cNvSpPr>
              <a:spLocks/>
            </p:cNvSpPr>
            <p:nvPr userDrawn="1"/>
          </p:nvSpPr>
          <p:spPr bwMode="auto">
            <a:xfrm>
              <a:off x="-11113" y="4230362"/>
              <a:ext cx="5701526" cy="1683076"/>
            </a:xfrm>
            <a:custGeom>
              <a:avLst/>
              <a:gdLst>
                <a:gd name="connsiteX0" fmla="*/ 8507 w 10007"/>
                <a:gd name="connsiteY0" fmla="*/ 10078 h 10078"/>
                <a:gd name="connsiteX1" fmla="*/ 9615 w 10007"/>
                <a:gd name="connsiteY1" fmla="*/ 7483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40 w 10007"/>
                <a:gd name="connsiteY3" fmla="*/ 97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21 w 10007"/>
                <a:gd name="connsiteY3" fmla="*/ 102 h 10078"/>
                <a:gd name="connsiteX4" fmla="*/ 0 w 10007"/>
                <a:gd name="connsiteY4" fmla="*/ 2987 h 10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7" h="10078">
                  <a:moveTo>
                    <a:pt x="8507" y="10078"/>
                  </a:moveTo>
                  <a:lnTo>
                    <a:pt x="9508" y="6557"/>
                  </a:lnTo>
                  <a:cubicBezTo>
                    <a:pt x="9675" y="4353"/>
                    <a:pt x="9837" y="2363"/>
                    <a:pt x="10007" y="0"/>
                  </a:cubicBezTo>
                  <a:lnTo>
                    <a:pt x="621" y="102"/>
                  </a:lnTo>
                  <a:lnTo>
                    <a:pt x="0" y="298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7" name="Freeform 43"/>
            <p:cNvSpPr>
              <a:spLocks/>
            </p:cNvSpPr>
            <p:nvPr userDrawn="1"/>
          </p:nvSpPr>
          <p:spPr bwMode="auto">
            <a:xfrm>
              <a:off x="-54" y="5157238"/>
              <a:ext cx="1354191" cy="756200"/>
            </a:xfrm>
            <a:custGeom>
              <a:avLst/>
              <a:gdLst>
                <a:gd name="connsiteX0" fmla="*/ 0 w 10000"/>
                <a:gd name="connsiteY0" fmla="*/ 0 h 10000"/>
                <a:gd name="connsiteX1" fmla="*/ 7132 w 10000"/>
                <a:gd name="connsiteY1" fmla="*/ 935 h 10000"/>
                <a:gd name="connsiteX2" fmla="*/ 10000 w 10000"/>
                <a:gd name="connsiteY2" fmla="*/ 10000 h 10000"/>
                <a:gd name="connsiteX0" fmla="*/ 0 w 9919"/>
                <a:gd name="connsiteY0" fmla="*/ 0 h 10244"/>
                <a:gd name="connsiteX1" fmla="*/ 7051 w 9919"/>
                <a:gd name="connsiteY1" fmla="*/ 1179 h 10244"/>
                <a:gd name="connsiteX2" fmla="*/ 9919 w 9919"/>
                <a:gd name="connsiteY2" fmla="*/ 10244 h 10244"/>
                <a:gd name="connsiteX0" fmla="*/ 0 w 10000"/>
                <a:gd name="connsiteY0" fmla="*/ 0 h 10000"/>
                <a:gd name="connsiteX1" fmla="*/ 7109 w 10000"/>
                <a:gd name="connsiteY1" fmla="*/ 1151 h 10000"/>
                <a:gd name="connsiteX2" fmla="*/ 10000 w 10000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7109" y="1151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4" name="Oval 19"/>
            <p:cNvSpPr>
              <a:spLocks noChangeAspect="1" noChangeArrowheads="1"/>
            </p:cNvSpPr>
            <p:nvPr userDrawn="1"/>
          </p:nvSpPr>
          <p:spPr bwMode="auto">
            <a:xfrm>
              <a:off x="7706047" y="3313553"/>
              <a:ext cx="72000" cy="72081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8" name="Rectangle 17"/>
          <p:cNvSpPr/>
          <p:nvPr userDrawn="1"/>
        </p:nvSpPr>
        <p:spPr>
          <a:xfrm>
            <a:off x="7113300" y="454410"/>
            <a:ext cx="2792700" cy="40481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0" rIns="360000" bIns="0" rtlCol="0" anchor="ctr"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0" i="0" kern="1200" noProof="0" dirty="0">
                <a:solidFill>
                  <a:schemeClr val="tx1"/>
                </a:solidFill>
                <a:effectLst>
                  <a:outerShdw blurRad="50800" dist="25400" dir="2700000" algn="tl" rotWithShape="0">
                    <a:prstClr val="black">
                      <a:alpha val="24000"/>
                    </a:prstClr>
                  </a:outerShdw>
                </a:effectLst>
                <a:latin typeface="+mj-lt"/>
                <a:ea typeface="+mn-ea"/>
                <a:cs typeface="+mn-cs"/>
              </a:rPr>
              <a:t>Leader in Digital Transformation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4488" y="4071521"/>
            <a:ext cx="6696000" cy="294302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lIns="90000" tIns="36000" rIns="90000" bIns="36000">
            <a:spAutoFit/>
          </a:bodyPr>
          <a:lstStyle>
            <a:lvl1pPr marL="0" indent="0" algn="l">
              <a:spcAft>
                <a:spcPts val="0"/>
              </a:spcAft>
              <a:buNone/>
              <a:defRPr lang="fr-FR" sz="1600" b="0" i="0" kern="1200" noProof="0" dirty="0" smtClean="0">
                <a:solidFill>
                  <a:schemeClr val="tx1"/>
                </a:solidFill>
                <a:effectLst>
                  <a:outerShdw blurRad="50800" dist="25400" dir="2700000" algn="tl" rotWithShape="0">
                    <a:prstClr val="black">
                      <a:alpha val="24000"/>
                    </a:prstClr>
                  </a:outerShdw>
                </a:effectLst>
                <a:latin typeface="+mj-lt"/>
                <a:ea typeface="+mn-ea"/>
                <a:cs typeface="+mn-cs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>
          <a:xfrm>
            <a:off x="344488" y="3344465"/>
            <a:ext cx="6696000" cy="588605"/>
          </a:xfrm>
          <a:solidFill>
            <a:schemeClr val="bg1">
              <a:alpha val="80000"/>
            </a:schemeClr>
          </a:solidFill>
        </p:spPr>
        <p:txBody>
          <a:bodyPr wrap="square" tIns="72000" bIns="72000" anchor="b" anchorCtr="0">
            <a:spAutoFit/>
          </a:bodyPr>
          <a:lstStyle>
            <a:lvl1pPr>
              <a:defRPr sz="32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41931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3384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4449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15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804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187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6093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8962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3371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FC5EC9-6A45-4743-B02E-99543BCF207E}" type="datetimeFigureOut">
              <a:rPr lang="en-US" smtClean="0"/>
              <a:t>12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516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microsoft.com/office/2007/relationships/hdphoto" Target="../media/hdphoto2.wdp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3.png"/><Relationship Id="rId7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microsoft.com/office/2007/relationships/hdphoto" Target="../media/hdphoto2.wdp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3.png"/><Relationship Id="rId7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microsoft.com/office/2007/relationships/hdphoto" Target="../media/hdphoto2.wdp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3.png"/><Relationship Id="rId7" Type="http://schemas.openxmlformats.org/officeDocument/2006/relationships/image" Target="../media/image26.png"/><Relationship Id="rId12" Type="http://schemas.openxmlformats.org/officeDocument/2006/relationships/image" Target="../media/image3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11" Type="http://schemas.openxmlformats.org/officeDocument/2006/relationships/image" Target="../media/image33.png"/><Relationship Id="rId5" Type="http://schemas.microsoft.com/office/2007/relationships/hdphoto" Target="../media/hdphoto2.wdp"/><Relationship Id="rId10" Type="http://schemas.openxmlformats.org/officeDocument/2006/relationships/image" Target="../media/image32.png"/><Relationship Id="rId4" Type="http://schemas.openxmlformats.org/officeDocument/2006/relationships/image" Target="../media/image24.png"/><Relationship Id="rId9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8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12" Type="http://schemas.microsoft.com/office/2007/relationships/hdphoto" Target="../media/hdphoto3.wdp"/><Relationship Id="rId2" Type="http://schemas.openxmlformats.org/officeDocument/2006/relationships/image" Target="../media/image4.png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11" Type="http://schemas.openxmlformats.org/officeDocument/2006/relationships/image" Target="../media/image37.png"/><Relationship Id="rId5" Type="http://schemas.openxmlformats.org/officeDocument/2006/relationships/image" Target="../media/image24.png"/><Relationship Id="rId15" Type="http://schemas.openxmlformats.org/officeDocument/2006/relationships/image" Target="../media/image40.png"/><Relationship Id="rId10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30.png"/><Relationship Id="rId1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5.png"/><Relationship Id="rId7" Type="http://schemas.openxmlformats.org/officeDocument/2006/relationships/image" Target="../media/image18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microsoft.com/office/2007/relationships/hdphoto" Target="../media/hdphoto1.wdp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microsoft.com/office/2007/relationships/hdphoto" Target="../media/hdphoto2.wdp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ubtitle 20"/>
          <p:cNvSpPr>
            <a:spLocks noGrp="1"/>
          </p:cNvSpPr>
          <p:nvPr>
            <p:ph type="subTitle" idx="1"/>
          </p:nvPr>
        </p:nvSpPr>
        <p:spPr>
          <a:xfrm>
            <a:off x="344488" y="4071521"/>
            <a:ext cx="6696000" cy="749812"/>
          </a:xfrm>
          <a:effectLst/>
        </p:spPr>
        <p:txBody>
          <a:bodyPr/>
          <a:lstStyle/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GB" sz="1800" b="1" dirty="0"/>
              <a:t>Website Prototype Screenshots</a:t>
            </a:r>
            <a:endParaRPr lang="en-GB" dirty="0"/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GB" dirty="0"/>
              <a:t>Dec 2017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344489" y="3356779"/>
            <a:ext cx="6696802" cy="576293"/>
          </a:xfrm>
          <a:effectLst/>
        </p:spPr>
        <p:txBody>
          <a:bodyPr/>
          <a:lstStyle/>
          <a:p>
            <a:r>
              <a:rPr lang="en-GB" sz="2800" dirty="0"/>
              <a:t>TOI Student Digital Strategy</a:t>
            </a:r>
          </a:p>
        </p:txBody>
      </p:sp>
    </p:spTree>
    <p:extLst>
      <p:ext uri="{BB962C8B-B14F-4D97-AF65-F5344CB8AC3E}">
        <p14:creationId xmlns:p14="http://schemas.microsoft.com/office/powerpoint/2010/main" val="88159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5"/>
          <a:stretch/>
        </p:blipFill>
        <p:spPr>
          <a:xfrm>
            <a:off x="0" y="362712"/>
            <a:ext cx="9906000" cy="598996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1FE7978-838F-419F-BA07-FE28C5D5ED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6"/>
          <a:stretch/>
        </p:blipFill>
        <p:spPr>
          <a:xfrm>
            <a:off x="-1" y="924024"/>
            <a:ext cx="9902952" cy="55026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3A999B6-B7A0-4007-94B2-6EBEA899796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 t="13940" b="-1"/>
          <a:stretch/>
        </p:blipFill>
        <p:spPr>
          <a:xfrm>
            <a:off x="5772105" y="5369701"/>
            <a:ext cx="274320" cy="261377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B6302F2-1BB3-4DCE-8F90-B2A04A3CD923}"/>
              </a:ext>
            </a:extLst>
          </p:cNvPr>
          <p:cNvGrpSpPr/>
          <p:nvPr/>
        </p:nvGrpSpPr>
        <p:grpSpPr>
          <a:xfrm>
            <a:off x="4043362" y="2351087"/>
            <a:ext cx="1895475" cy="1419516"/>
            <a:chOff x="4005262" y="2719387"/>
            <a:chExt cx="1895475" cy="1419516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A2A8847-834A-4E15-B282-24F6711D2C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8559" r="11021" b="6761"/>
            <a:stretch/>
          </p:blipFill>
          <p:spPr>
            <a:xfrm>
              <a:off x="4239767" y="2719387"/>
              <a:ext cx="1426464" cy="141951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EAC49EC-D434-4592-BC66-EE7CCF1BBDE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023234"/>
                </a:clrFrom>
                <a:clrTo>
                  <a:srgbClr val="023234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005262" y="2719387"/>
              <a:ext cx="1895475" cy="1419225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FC6072A6-255F-47A8-8929-1E8E629C0560}"/>
              </a:ext>
            </a:extLst>
          </p:cNvPr>
          <p:cNvSpPr/>
          <p:nvPr/>
        </p:nvSpPr>
        <p:spPr>
          <a:xfrm>
            <a:off x="0" y="362712"/>
            <a:ext cx="9906000" cy="6063921"/>
          </a:xfrm>
          <a:prstGeom prst="rect">
            <a:avLst/>
          </a:prstGeom>
          <a:solidFill>
            <a:schemeClr val="tx1">
              <a:lumMod val="95000"/>
              <a:lumOff val="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5667BE-EE74-4915-93F2-77EC8FB0B7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71612" y="1343025"/>
            <a:ext cx="7000875" cy="4572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44BA019-F4FA-4712-95E1-BF8BEDF6A1BF}"/>
              </a:ext>
            </a:extLst>
          </p:cNvPr>
          <p:cNvSpPr/>
          <p:nvPr/>
        </p:nvSpPr>
        <p:spPr>
          <a:xfrm>
            <a:off x="5067300" y="1347537"/>
            <a:ext cx="3124200" cy="7196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1"/>
                </a:solidFill>
              </a:rPr>
              <a:t>SIGN UP </a:t>
            </a:r>
          </a:p>
          <a:p>
            <a:r>
              <a:rPr lang="en-US" sz="1400" dirty="0">
                <a:solidFill>
                  <a:schemeClr val="tx1"/>
                </a:solidFill>
              </a:rPr>
              <a:t>TO VIEW SCORE AND WIN REWARDS! </a:t>
            </a:r>
          </a:p>
        </p:txBody>
      </p:sp>
    </p:spTree>
    <p:extLst>
      <p:ext uri="{BB962C8B-B14F-4D97-AF65-F5344CB8AC3E}">
        <p14:creationId xmlns:p14="http://schemas.microsoft.com/office/powerpoint/2010/main" val="61912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5"/>
          <a:stretch/>
        </p:blipFill>
        <p:spPr>
          <a:xfrm>
            <a:off x="0" y="362712"/>
            <a:ext cx="9906000" cy="598996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1FE7978-838F-419F-BA07-FE28C5D5ED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6"/>
          <a:stretch/>
        </p:blipFill>
        <p:spPr>
          <a:xfrm>
            <a:off x="-1" y="924024"/>
            <a:ext cx="9902952" cy="55026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3A999B6-B7A0-4007-94B2-6EBEA899796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 t="13940" b="-1"/>
          <a:stretch/>
        </p:blipFill>
        <p:spPr>
          <a:xfrm>
            <a:off x="5772105" y="5369701"/>
            <a:ext cx="274320" cy="261377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B6302F2-1BB3-4DCE-8F90-B2A04A3CD923}"/>
              </a:ext>
            </a:extLst>
          </p:cNvPr>
          <p:cNvGrpSpPr/>
          <p:nvPr/>
        </p:nvGrpSpPr>
        <p:grpSpPr>
          <a:xfrm>
            <a:off x="4043362" y="2351087"/>
            <a:ext cx="1895475" cy="1419516"/>
            <a:chOff x="4005262" y="2719387"/>
            <a:chExt cx="1895475" cy="1419516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A2A8847-834A-4E15-B282-24F6711D2C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8559" r="11021" b="6761"/>
            <a:stretch/>
          </p:blipFill>
          <p:spPr>
            <a:xfrm>
              <a:off x="4239767" y="2719387"/>
              <a:ext cx="1426464" cy="141951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EAC49EC-D434-4592-BC66-EE7CCF1BBDE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023234"/>
                </a:clrFrom>
                <a:clrTo>
                  <a:srgbClr val="023234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005262" y="2719387"/>
              <a:ext cx="1895475" cy="1419225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FC6072A6-255F-47A8-8929-1E8E629C0560}"/>
              </a:ext>
            </a:extLst>
          </p:cNvPr>
          <p:cNvSpPr/>
          <p:nvPr/>
        </p:nvSpPr>
        <p:spPr>
          <a:xfrm>
            <a:off x="0" y="362712"/>
            <a:ext cx="9906000" cy="6063921"/>
          </a:xfrm>
          <a:prstGeom prst="rect">
            <a:avLst/>
          </a:prstGeom>
          <a:solidFill>
            <a:schemeClr val="tx1">
              <a:lumMod val="95000"/>
              <a:lumOff val="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5DE7E4E-0485-4CF1-BB45-D8CE470200E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04" t="14985" r="14327" b="8964"/>
          <a:stretch/>
        </p:blipFill>
        <p:spPr>
          <a:xfrm>
            <a:off x="1476375" y="1323975"/>
            <a:ext cx="70104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570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5"/>
          <a:stretch/>
        </p:blipFill>
        <p:spPr>
          <a:xfrm>
            <a:off x="0" y="362712"/>
            <a:ext cx="9906000" cy="598996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1FE7978-838F-419F-BA07-FE28C5D5ED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6"/>
          <a:stretch/>
        </p:blipFill>
        <p:spPr>
          <a:xfrm>
            <a:off x="-1" y="924024"/>
            <a:ext cx="9902952" cy="55026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3A999B6-B7A0-4007-94B2-6EBEA899796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 t="13940" b="-1"/>
          <a:stretch/>
        </p:blipFill>
        <p:spPr>
          <a:xfrm>
            <a:off x="5772105" y="5369701"/>
            <a:ext cx="274320" cy="261377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B6302F2-1BB3-4DCE-8F90-B2A04A3CD923}"/>
              </a:ext>
            </a:extLst>
          </p:cNvPr>
          <p:cNvGrpSpPr/>
          <p:nvPr/>
        </p:nvGrpSpPr>
        <p:grpSpPr>
          <a:xfrm>
            <a:off x="4043362" y="2351087"/>
            <a:ext cx="1895475" cy="1419516"/>
            <a:chOff x="4005262" y="2719387"/>
            <a:chExt cx="1895475" cy="1419516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A2A8847-834A-4E15-B282-24F6711D2C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8559" r="11021" b="6761"/>
            <a:stretch/>
          </p:blipFill>
          <p:spPr>
            <a:xfrm>
              <a:off x="4239767" y="2719387"/>
              <a:ext cx="1426464" cy="141951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EAC49EC-D434-4592-BC66-EE7CCF1BBDE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023234"/>
                </a:clrFrom>
                <a:clrTo>
                  <a:srgbClr val="023234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005262" y="2719387"/>
              <a:ext cx="1895475" cy="1419225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7088DB82-F164-4503-8519-579AFA8E936B}"/>
              </a:ext>
            </a:extLst>
          </p:cNvPr>
          <p:cNvSpPr/>
          <p:nvPr/>
        </p:nvSpPr>
        <p:spPr>
          <a:xfrm>
            <a:off x="2433697" y="4357592"/>
            <a:ext cx="5600700" cy="581025"/>
          </a:xfrm>
          <a:prstGeom prst="rect">
            <a:avLst/>
          </a:prstGeom>
          <a:solidFill>
            <a:srgbClr val="D9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1DD9218-E0B8-410F-BE64-5F8D87751334}"/>
              </a:ext>
            </a:extLst>
          </p:cNvPr>
          <p:cNvSpPr/>
          <p:nvPr/>
        </p:nvSpPr>
        <p:spPr>
          <a:xfrm>
            <a:off x="2836863" y="4382017"/>
            <a:ext cx="1944687" cy="438150"/>
          </a:xfrm>
          <a:prstGeom prst="roundRect">
            <a:avLst>
              <a:gd name="adj" fmla="val 3926"/>
            </a:avLst>
          </a:prstGeom>
          <a:solidFill>
            <a:srgbClr val="FFA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Replay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FB2EBAB-9C1E-46BF-AA84-06CC1A122283}"/>
              </a:ext>
            </a:extLst>
          </p:cNvPr>
          <p:cNvSpPr/>
          <p:nvPr/>
        </p:nvSpPr>
        <p:spPr>
          <a:xfrm>
            <a:off x="5124452" y="4382017"/>
            <a:ext cx="1944687" cy="438150"/>
          </a:xfrm>
          <a:prstGeom prst="roundRect">
            <a:avLst>
              <a:gd name="adj" fmla="val 3926"/>
            </a:avLst>
          </a:prstGeom>
          <a:solidFill>
            <a:srgbClr val="FFA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 Sha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03D59D-53DC-4EFA-B6CA-5D55EB3F972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464" r="17320"/>
          <a:stretch/>
        </p:blipFill>
        <p:spPr>
          <a:xfrm>
            <a:off x="6483668" y="4464884"/>
            <a:ext cx="207962" cy="25717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3BC38E1-34D6-4145-B169-6F6ECDFCF114}"/>
              </a:ext>
            </a:extLst>
          </p:cNvPr>
          <p:cNvSpPr/>
          <p:nvPr/>
        </p:nvSpPr>
        <p:spPr>
          <a:xfrm>
            <a:off x="3809206" y="3733800"/>
            <a:ext cx="2367227" cy="60937"/>
          </a:xfrm>
          <a:prstGeom prst="rect">
            <a:avLst/>
          </a:prstGeom>
          <a:solidFill>
            <a:srgbClr val="D9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7E7D34C-A309-4783-A616-21BAE290673D}"/>
              </a:ext>
            </a:extLst>
          </p:cNvPr>
          <p:cNvSpPr/>
          <p:nvPr/>
        </p:nvSpPr>
        <p:spPr>
          <a:xfrm>
            <a:off x="4284343" y="2369846"/>
            <a:ext cx="1362456" cy="1358579"/>
          </a:xfrm>
          <a:prstGeom prst="ellipse">
            <a:avLst/>
          </a:prstGeom>
          <a:noFill/>
          <a:ln w="57150">
            <a:solidFill>
              <a:srgbClr val="2446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729546A-39C7-4704-BE00-641209318168}"/>
              </a:ext>
            </a:extLst>
          </p:cNvPr>
          <p:cNvSpPr/>
          <p:nvPr/>
        </p:nvSpPr>
        <p:spPr>
          <a:xfrm>
            <a:off x="9309099" y="1028700"/>
            <a:ext cx="587501" cy="4476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chemeClr val="tx1"/>
                </a:solidFill>
              </a:rPr>
              <a:t>rarathi</a:t>
            </a:r>
          </a:p>
          <a:p>
            <a:r>
              <a:rPr lang="en-US" sz="1000" dirty="0">
                <a:solidFill>
                  <a:schemeClr val="tx1"/>
                </a:solidFill>
              </a:rPr>
              <a:t>1024 pts</a:t>
            </a:r>
          </a:p>
        </p:txBody>
      </p:sp>
      <p:sp>
        <p:nvSpPr>
          <p:cNvPr id="23" name="Arrow: Circular 22">
            <a:extLst>
              <a:ext uri="{FF2B5EF4-FFF2-40B4-BE49-F238E27FC236}">
                <a16:creationId xmlns:a16="http://schemas.microsoft.com/office/drawing/2014/main" id="{4A79D2B1-1F02-4FB9-9EC6-E46DE996CF76}"/>
              </a:ext>
            </a:extLst>
          </p:cNvPr>
          <p:cNvSpPr/>
          <p:nvPr/>
        </p:nvSpPr>
        <p:spPr>
          <a:xfrm rot="13728422" flipV="1">
            <a:off x="4089213" y="4498433"/>
            <a:ext cx="228600" cy="228600"/>
          </a:xfrm>
          <a:prstGeom prst="circularArrow">
            <a:avLst>
              <a:gd name="adj1" fmla="val 8794"/>
              <a:gd name="adj2" fmla="val 989256"/>
              <a:gd name="adj3" fmla="val 20506049"/>
              <a:gd name="adj4" fmla="val 6394727"/>
              <a:gd name="adj5" fmla="val 151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8DEAA4A0-301E-4D1C-9CEC-469B8C00BF7A}"/>
              </a:ext>
            </a:extLst>
          </p:cNvPr>
          <p:cNvSpPr/>
          <p:nvPr/>
        </p:nvSpPr>
        <p:spPr>
          <a:xfrm rot="3003962">
            <a:off x="4121142" y="4517234"/>
            <a:ext cx="67314" cy="70710"/>
          </a:xfrm>
          <a:prstGeom prst="downArrow">
            <a:avLst>
              <a:gd name="adj1" fmla="val 0"/>
              <a:gd name="adj2" fmla="val 8060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0DF0E2-71BD-4098-BE0C-9AED3F0EE37A}"/>
              </a:ext>
            </a:extLst>
          </p:cNvPr>
          <p:cNvSpPr/>
          <p:nvPr/>
        </p:nvSpPr>
        <p:spPr>
          <a:xfrm>
            <a:off x="5475375" y="4025905"/>
            <a:ext cx="1008288" cy="275478"/>
          </a:xfrm>
          <a:prstGeom prst="rect">
            <a:avLst/>
          </a:prstGeom>
          <a:solidFill>
            <a:srgbClr val="D9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0" rtlCol="0" anchor="ctr"/>
          <a:lstStyle/>
          <a:p>
            <a:r>
              <a:rPr lang="en-US" sz="175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oints!</a:t>
            </a:r>
          </a:p>
        </p:txBody>
      </p:sp>
    </p:spTree>
    <p:extLst>
      <p:ext uri="{BB962C8B-B14F-4D97-AF65-F5344CB8AC3E}">
        <p14:creationId xmlns:p14="http://schemas.microsoft.com/office/powerpoint/2010/main" val="253340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5"/>
          <a:stretch/>
        </p:blipFill>
        <p:spPr>
          <a:xfrm>
            <a:off x="0" y="362712"/>
            <a:ext cx="9906000" cy="598996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1FE7978-838F-419F-BA07-FE28C5D5ED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6"/>
          <a:stretch/>
        </p:blipFill>
        <p:spPr>
          <a:xfrm>
            <a:off x="-1" y="924024"/>
            <a:ext cx="9902952" cy="55026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3A999B6-B7A0-4007-94B2-6EBEA899796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 t="13940" b="-1"/>
          <a:stretch/>
        </p:blipFill>
        <p:spPr>
          <a:xfrm>
            <a:off x="5772105" y="5369701"/>
            <a:ext cx="274320" cy="261377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B6302F2-1BB3-4DCE-8F90-B2A04A3CD923}"/>
              </a:ext>
            </a:extLst>
          </p:cNvPr>
          <p:cNvGrpSpPr/>
          <p:nvPr/>
        </p:nvGrpSpPr>
        <p:grpSpPr>
          <a:xfrm>
            <a:off x="4043362" y="2351087"/>
            <a:ext cx="1895475" cy="1419516"/>
            <a:chOff x="4005262" y="2719387"/>
            <a:chExt cx="1895475" cy="1419516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A2A8847-834A-4E15-B282-24F6711D2C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8559" r="11021" b="6761"/>
            <a:stretch/>
          </p:blipFill>
          <p:spPr>
            <a:xfrm>
              <a:off x="4239767" y="2719387"/>
              <a:ext cx="1426464" cy="141951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EAC49EC-D434-4592-BC66-EE7CCF1BBDE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023234"/>
                </a:clrFrom>
                <a:clrTo>
                  <a:srgbClr val="023234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005262" y="2719387"/>
              <a:ext cx="1895475" cy="1419225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7088DB82-F164-4503-8519-579AFA8E936B}"/>
              </a:ext>
            </a:extLst>
          </p:cNvPr>
          <p:cNvSpPr/>
          <p:nvPr/>
        </p:nvSpPr>
        <p:spPr>
          <a:xfrm>
            <a:off x="2433697" y="4357592"/>
            <a:ext cx="5600700" cy="581025"/>
          </a:xfrm>
          <a:prstGeom prst="rect">
            <a:avLst/>
          </a:prstGeom>
          <a:solidFill>
            <a:srgbClr val="D9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1DD9218-E0B8-410F-BE64-5F8D87751334}"/>
              </a:ext>
            </a:extLst>
          </p:cNvPr>
          <p:cNvSpPr/>
          <p:nvPr/>
        </p:nvSpPr>
        <p:spPr>
          <a:xfrm>
            <a:off x="2836863" y="4382017"/>
            <a:ext cx="1944687" cy="438150"/>
          </a:xfrm>
          <a:prstGeom prst="roundRect">
            <a:avLst>
              <a:gd name="adj" fmla="val 3926"/>
            </a:avLst>
          </a:prstGeom>
          <a:solidFill>
            <a:srgbClr val="FFA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Replay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FB2EBAB-9C1E-46BF-AA84-06CC1A122283}"/>
              </a:ext>
            </a:extLst>
          </p:cNvPr>
          <p:cNvSpPr/>
          <p:nvPr/>
        </p:nvSpPr>
        <p:spPr>
          <a:xfrm>
            <a:off x="5124452" y="4382017"/>
            <a:ext cx="1944687" cy="438150"/>
          </a:xfrm>
          <a:prstGeom prst="roundRect">
            <a:avLst>
              <a:gd name="adj" fmla="val 3926"/>
            </a:avLst>
          </a:prstGeom>
          <a:solidFill>
            <a:srgbClr val="FFA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 Sha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03D59D-53DC-4EFA-B6CA-5D55EB3F972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464" r="17320"/>
          <a:stretch/>
        </p:blipFill>
        <p:spPr>
          <a:xfrm>
            <a:off x="6483668" y="4464884"/>
            <a:ext cx="207962" cy="25717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3BC38E1-34D6-4145-B169-6F6ECDFCF114}"/>
              </a:ext>
            </a:extLst>
          </p:cNvPr>
          <p:cNvSpPr/>
          <p:nvPr/>
        </p:nvSpPr>
        <p:spPr>
          <a:xfrm>
            <a:off x="3809206" y="3733800"/>
            <a:ext cx="2367227" cy="60937"/>
          </a:xfrm>
          <a:prstGeom prst="rect">
            <a:avLst/>
          </a:prstGeom>
          <a:solidFill>
            <a:srgbClr val="D9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7E7D34C-A309-4783-A616-21BAE290673D}"/>
              </a:ext>
            </a:extLst>
          </p:cNvPr>
          <p:cNvSpPr/>
          <p:nvPr/>
        </p:nvSpPr>
        <p:spPr>
          <a:xfrm>
            <a:off x="4274818" y="2360321"/>
            <a:ext cx="1362456" cy="1358579"/>
          </a:xfrm>
          <a:prstGeom prst="ellipse">
            <a:avLst/>
          </a:prstGeom>
          <a:noFill/>
          <a:ln w="38100">
            <a:solidFill>
              <a:srgbClr val="2446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729546A-39C7-4704-BE00-641209318168}"/>
              </a:ext>
            </a:extLst>
          </p:cNvPr>
          <p:cNvSpPr/>
          <p:nvPr/>
        </p:nvSpPr>
        <p:spPr>
          <a:xfrm>
            <a:off x="9309099" y="1028700"/>
            <a:ext cx="587501" cy="4476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chemeClr val="tx1"/>
                </a:solidFill>
              </a:rPr>
              <a:t>rarathi</a:t>
            </a:r>
          </a:p>
          <a:p>
            <a:r>
              <a:rPr lang="en-US" sz="1000" dirty="0">
                <a:solidFill>
                  <a:schemeClr val="tx1"/>
                </a:solidFill>
              </a:rPr>
              <a:t>1024 pts</a:t>
            </a:r>
          </a:p>
        </p:txBody>
      </p:sp>
      <p:sp>
        <p:nvSpPr>
          <p:cNvPr id="23" name="Arrow: Circular 22">
            <a:extLst>
              <a:ext uri="{FF2B5EF4-FFF2-40B4-BE49-F238E27FC236}">
                <a16:creationId xmlns:a16="http://schemas.microsoft.com/office/drawing/2014/main" id="{4A79D2B1-1F02-4FB9-9EC6-E46DE996CF76}"/>
              </a:ext>
            </a:extLst>
          </p:cNvPr>
          <p:cNvSpPr/>
          <p:nvPr/>
        </p:nvSpPr>
        <p:spPr>
          <a:xfrm rot="13728422" flipV="1">
            <a:off x="4089213" y="4498433"/>
            <a:ext cx="228600" cy="228600"/>
          </a:xfrm>
          <a:prstGeom prst="circularArrow">
            <a:avLst>
              <a:gd name="adj1" fmla="val 8794"/>
              <a:gd name="adj2" fmla="val 989256"/>
              <a:gd name="adj3" fmla="val 20506049"/>
              <a:gd name="adj4" fmla="val 6394727"/>
              <a:gd name="adj5" fmla="val 151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8DEAA4A0-301E-4D1C-9CEC-469B8C00BF7A}"/>
              </a:ext>
            </a:extLst>
          </p:cNvPr>
          <p:cNvSpPr/>
          <p:nvPr/>
        </p:nvSpPr>
        <p:spPr>
          <a:xfrm rot="3003962">
            <a:off x="4121142" y="4517234"/>
            <a:ext cx="67314" cy="70710"/>
          </a:xfrm>
          <a:prstGeom prst="downArrow">
            <a:avLst>
              <a:gd name="adj1" fmla="val 0"/>
              <a:gd name="adj2" fmla="val 8060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0DF0E2-71BD-4098-BE0C-9AED3F0EE37A}"/>
              </a:ext>
            </a:extLst>
          </p:cNvPr>
          <p:cNvSpPr/>
          <p:nvPr/>
        </p:nvSpPr>
        <p:spPr>
          <a:xfrm>
            <a:off x="5475375" y="4025905"/>
            <a:ext cx="1008288" cy="275478"/>
          </a:xfrm>
          <a:prstGeom prst="rect">
            <a:avLst/>
          </a:prstGeom>
          <a:solidFill>
            <a:srgbClr val="D9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0" rtlCol="0" anchor="ctr"/>
          <a:lstStyle/>
          <a:p>
            <a:r>
              <a:rPr lang="en-US" sz="175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oints!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0BD594B-7DEE-47C8-970A-702813E1CE6A}"/>
              </a:ext>
            </a:extLst>
          </p:cNvPr>
          <p:cNvSpPr/>
          <p:nvPr/>
        </p:nvSpPr>
        <p:spPr>
          <a:xfrm>
            <a:off x="0" y="362712"/>
            <a:ext cx="9906000" cy="6063921"/>
          </a:xfrm>
          <a:prstGeom prst="rect">
            <a:avLst/>
          </a:prstGeom>
          <a:solidFill>
            <a:schemeClr val="tx1">
              <a:lumMod val="95000"/>
              <a:lumOff val="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D6E0CFE-0E44-46DB-88F0-178DDC6CD2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495" y="924024"/>
            <a:ext cx="1933575" cy="48196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D789BAE-EB76-4898-B498-6DFD8B42FAE8}"/>
              </a:ext>
            </a:extLst>
          </p:cNvPr>
          <p:cNvSpPr/>
          <p:nvPr/>
        </p:nvSpPr>
        <p:spPr>
          <a:xfrm>
            <a:off x="16494" y="5369701"/>
            <a:ext cx="1933575" cy="105693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7FAE9F8-550E-4227-97A3-BFE552DC0B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33512" y="1166812"/>
            <a:ext cx="7038975" cy="452437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42B3E55-26ED-4D78-9512-1B80D7B97B0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 t="13940" b="-1"/>
          <a:stretch/>
        </p:blipFill>
        <p:spPr>
          <a:xfrm>
            <a:off x="4951183" y="4521293"/>
            <a:ext cx="191936" cy="18288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FE51098B-CA1B-4A97-A275-3FC22D425C7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1614" b="468"/>
          <a:stretch/>
        </p:blipFill>
        <p:spPr>
          <a:xfrm>
            <a:off x="3986213" y="1166812"/>
            <a:ext cx="4357688" cy="4522153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8565DFDA-5F10-456A-82B9-96D442093A8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33513" y="1166813"/>
            <a:ext cx="5258118" cy="44767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51C30B7-DDE6-470F-B3B3-A91BB2B4B79E}"/>
              </a:ext>
            </a:extLst>
          </p:cNvPr>
          <p:cNvSpPr/>
          <p:nvPr/>
        </p:nvSpPr>
        <p:spPr>
          <a:xfrm>
            <a:off x="1433512" y="1166812"/>
            <a:ext cx="3280075" cy="451262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>
              <a:spcBef>
                <a:spcPts val="1800"/>
              </a:spcBef>
            </a:pPr>
            <a:r>
              <a:rPr lang="en-US" sz="1400" b="1" dirty="0">
                <a:solidFill>
                  <a:srgbClr val="F44336"/>
                </a:solidFill>
              </a:rPr>
              <a:t>My Wall</a:t>
            </a:r>
          </a:p>
          <a:p>
            <a:pPr marL="457200">
              <a:spcBef>
                <a:spcPts val="1800"/>
              </a:spcBef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tifications</a:t>
            </a:r>
          </a:p>
          <a:p>
            <a:pPr marL="457200">
              <a:spcBef>
                <a:spcPts val="1800"/>
              </a:spcBef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y Network Activity</a:t>
            </a:r>
          </a:p>
          <a:p>
            <a:pPr marL="457200">
              <a:spcBef>
                <a:spcPts val="600"/>
              </a:spcBef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ople I am following</a:t>
            </a:r>
          </a:p>
          <a:p>
            <a:pPr marL="457200">
              <a:spcBef>
                <a:spcPts val="600"/>
              </a:spcBef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ople following me</a:t>
            </a:r>
          </a:p>
          <a:p>
            <a:pPr marL="457200">
              <a:spcBef>
                <a:spcPts val="1800"/>
              </a:spcBef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y Activity</a:t>
            </a:r>
          </a:p>
          <a:p>
            <a:pPr marL="457200">
              <a:spcBef>
                <a:spcPts val="600"/>
              </a:spcBef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ticles</a:t>
            </a:r>
          </a:p>
          <a:p>
            <a:pPr marL="457200">
              <a:spcBef>
                <a:spcPts val="600"/>
              </a:spcBef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ments</a:t>
            </a:r>
          </a:p>
          <a:p>
            <a:pPr marL="457200">
              <a:spcBef>
                <a:spcPts val="600"/>
              </a:spcBef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hared</a:t>
            </a:r>
          </a:p>
          <a:p>
            <a:pPr marL="457200">
              <a:spcBef>
                <a:spcPts val="600"/>
              </a:spcBef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ved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ACDF7978-7770-4623-BD9C-1C3392B96445}"/>
              </a:ext>
            </a:extLst>
          </p:cNvPr>
          <p:cNvCxnSpPr>
            <a:cxnSpLocks/>
          </p:cNvCxnSpPr>
          <p:nvPr/>
        </p:nvCxnSpPr>
        <p:spPr>
          <a:xfrm>
            <a:off x="3986213" y="1614489"/>
            <a:ext cx="0" cy="365283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Arrow: Right 64">
            <a:extLst>
              <a:ext uri="{FF2B5EF4-FFF2-40B4-BE49-F238E27FC236}">
                <a16:creationId xmlns:a16="http://schemas.microsoft.com/office/drawing/2014/main" id="{B01EF166-924F-4FBB-82CE-63AAD40CF9B9}"/>
              </a:ext>
            </a:extLst>
          </p:cNvPr>
          <p:cNvSpPr/>
          <p:nvPr/>
        </p:nvSpPr>
        <p:spPr>
          <a:xfrm>
            <a:off x="3909370" y="1845628"/>
            <a:ext cx="274320" cy="274320"/>
          </a:xfrm>
          <a:prstGeom prst="rightArrow">
            <a:avLst>
              <a:gd name="adj1" fmla="val 50000"/>
              <a:gd name="adj2" fmla="val 150000"/>
            </a:avLst>
          </a:prstGeom>
          <a:solidFill>
            <a:srgbClr val="F44336"/>
          </a:solidFill>
          <a:ln>
            <a:solidFill>
              <a:srgbClr val="F443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6C052748-2F6D-4B9B-927E-DD46B7579FC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33511" y="1164590"/>
            <a:ext cx="1781175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84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5"/>
          <a:stretch/>
        </p:blipFill>
        <p:spPr>
          <a:xfrm>
            <a:off x="0" y="362712"/>
            <a:ext cx="9906000" cy="598996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1FE7978-838F-419F-BA07-FE28C5D5ED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6"/>
          <a:stretch/>
        </p:blipFill>
        <p:spPr>
          <a:xfrm>
            <a:off x="-1" y="924024"/>
            <a:ext cx="9902952" cy="550260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29546A-39C7-4704-BE00-641209318168}"/>
              </a:ext>
            </a:extLst>
          </p:cNvPr>
          <p:cNvSpPr/>
          <p:nvPr/>
        </p:nvSpPr>
        <p:spPr>
          <a:xfrm>
            <a:off x="9309099" y="1028700"/>
            <a:ext cx="587501" cy="4476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chemeClr val="tx1"/>
                </a:solidFill>
              </a:rPr>
              <a:t>rarathi</a:t>
            </a:r>
          </a:p>
          <a:p>
            <a:r>
              <a:rPr lang="en-US" sz="1000" dirty="0">
                <a:solidFill>
                  <a:schemeClr val="tx1"/>
                </a:solidFill>
              </a:rPr>
              <a:t>1024 p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C2D087C-3901-4FB7-8EBB-7B68A70AC790}"/>
              </a:ext>
            </a:extLst>
          </p:cNvPr>
          <p:cNvSpPr/>
          <p:nvPr/>
        </p:nvSpPr>
        <p:spPr>
          <a:xfrm>
            <a:off x="0" y="362712"/>
            <a:ext cx="9906000" cy="6063921"/>
          </a:xfrm>
          <a:prstGeom prst="rect">
            <a:avLst/>
          </a:prstGeom>
          <a:solidFill>
            <a:schemeClr val="tx1">
              <a:lumMod val="95000"/>
              <a:lumOff val="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97147D-56E7-4168-9885-9C5CF35266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00" y="924024"/>
            <a:ext cx="1933575" cy="481965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BF77101-BFE0-4CCF-BB2F-1730FDB4CEDB}"/>
              </a:ext>
            </a:extLst>
          </p:cNvPr>
          <p:cNvSpPr/>
          <p:nvPr/>
        </p:nvSpPr>
        <p:spPr>
          <a:xfrm>
            <a:off x="16494" y="5369701"/>
            <a:ext cx="1920240" cy="105693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C741048-F862-4E61-8BF7-DC70F1B86CDF}"/>
              </a:ext>
            </a:extLst>
          </p:cNvPr>
          <p:cNvGrpSpPr/>
          <p:nvPr/>
        </p:nvGrpSpPr>
        <p:grpSpPr>
          <a:xfrm>
            <a:off x="1406182" y="1160728"/>
            <a:ext cx="7071536" cy="4514850"/>
            <a:chOff x="1415707" y="1417903"/>
            <a:chExt cx="7071536" cy="4514850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F4AD036-76B9-4FAD-AB6E-6BFEF55870C1}"/>
                </a:ext>
              </a:extLst>
            </p:cNvPr>
            <p:cNvGrpSpPr/>
            <p:nvPr/>
          </p:nvGrpSpPr>
          <p:grpSpPr>
            <a:xfrm>
              <a:off x="1415707" y="1417903"/>
              <a:ext cx="7071536" cy="4514850"/>
              <a:chOff x="1152525" y="1171575"/>
              <a:chExt cx="7071536" cy="4514850"/>
            </a:xfrm>
          </p:grpSpPr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0BC13104-C803-46CF-B091-20623540A3F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40000" contrast="40000"/>
                        </a14:imgEffect>
                      </a14:imgLayer>
                    </a14:imgProps>
                  </a:ext>
                </a:extLst>
              </a:blip>
              <a:srcRect t="13940" b="-1"/>
              <a:stretch/>
            </p:blipFill>
            <p:spPr>
              <a:xfrm>
                <a:off x="5772105" y="5369701"/>
                <a:ext cx="274320" cy="261377"/>
              </a:xfrm>
              <a:prstGeom prst="rect">
                <a:avLst/>
              </a:prstGeom>
            </p:spPr>
          </p:pic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6D824D1C-61B8-4AE1-A6EE-A1C54B00B730}"/>
                  </a:ext>
                </a:extLst>
              </p:cNvPr>
              <p:cNvGrpSpPr/>
              <p:nvPr/>
            </p:nvGrpSpPr>
            <p:grpSpPr>
              <a:xfrm>
                <a:off x="4043362" y="2351087"/>
                <a:ext cx="1895475" cy="1419516"/>
                <a:chOff x="4005262" y="2719387"/>
                <a:chExt cx="1895475" cy="1419516"/>
              </a:xfrm>
            </p:grpSpPr>
            <p:pic>
              <p:nvPicPr>
                <p:cNvPr id="96" name="Picture 95">
                  <a:extLst>
                    <a:ext uri="{FF2B5EF4-FFF2-40B4-BE49-F238E27FC236}">
                      <a16:creationId xmlns:a16="http://schemas.microsoft.com/office/drawing/2014/main" id="{54CCCA2B-2D80-4CCB-A65A-D1014BE447A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/>
                <a:srcRect t="18559" r="11021" b="6761"/>
                <a:stretch/>
              </p:blipFill>
              <p:spPr>
                <a:xfrm>
                  <a:off x="4239767" y="2719387"/>
                  <a:ext cx="1426464" cy="1419516"/>
                </a:xfrm>
                <a:prstGeom prst="rect">
                  <a:avLst/>
                </a:prstGeom>
              </p:spPr>
            </p:pic>
            <p:pic>
              <p:nvPicPr>
                <p:cNvPr id="97" name="Picture 96">
                  <a:extLst>
                    <a:ext uri="{FF2B5EF4-FFF2-40B4-BE49-F238E27FC236}">
                      <a16:creationId xmlns:a16="http://schemas.microsoft.com/office/drawing/2014/main" id="{47667585-6CEF-4361-AF5D-653A21F73D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clrChange>
                    <a:clrFrom>
                      <a:srgbClr val="023234"/>
                    </a:clrFrom>
                    <a:clrTo>
                      <a:srgbClr val="023234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4005262" y="2719387"/>
                  <a:ext cx="1895475" cy="1419225"/>
                </a:xfrm>
                <a:prstGeom prst="rect">
                  <a:avLst/>
                </a:prstGeom>
              </p:spPr>
            </p:pic>
          </p:grp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3B104CAB-036C-4FFC-BD30-C2AACAE9E3FF}"/>
                  </a:ext>
                </a:extLst>
              </p:cNvPr>
              <p:cNvSpPr/>
              <p:nvPr/>
            </p:nvSpPr>
            <p:spPr>
              <a:xfrm>
                <a:off x="2433697" y="4357592"/>
                <a:ext cx="5600700" cy="581025"/>
              </a:xfrm>
              <a:prstGeom prst="rect">
                <a:avLst/>
              </a:prstGeom>
              <a:solidFill>
                <a:srgbClr val="D9F6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tangle: Rounded Corners 73">
                <a:extLst>
                  <a:ext uri="{FF2B5EF4-FFF2-40B4-BE49-F238E27FC236}">
                    <a16:creationId xmlns:a16="http://schemas.microsoft.com/office/drawing/2014/main" id="{87633610-8D44-44A1-8E54-3B7FF274B776}"/>
                  </a:ext>
                </a:extLst>
              </p:cNvPr>
              <p:cNvSpPr/>
              <p:nvPr/>
            </p:nvSpPr>
            <p:spPr>
              <a:xfrm>
                <a:off x="2836863" y="4382017"/>
                <a:ext cx="1944687" cy="438150"/>
              </a:xfrm>
              <a:prstGeom prst="roundRect">
                <a:avLst>
                  <a:gd name="adj" fmla="val 3926"/>
                </a:avLst>
              </a:prstGeom>
              <a:solidFill>
                <a:srgbClr val="FFA72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/>
                  <a:t>Replay</a:t>
                </a:r>
              </a:p>
            </p:txBody>
          </p:sp>
          <p:sp>
            <p:nvSpPr>
              <p:cNvPr id="75" name="Rectangle: Rounded Corners 74">
                <a:extLst>
                  <a:ext uri="{FF2B5EF4-FFF2-40B4-BE49-F238E27FC236}">
                    <a16:creationId xmlns:a16="http://schemas.microsoft.com/office/drawing/2014/main" id="{0D21313E-7E71-4090-A212-A424A927F66C}"/>
                  </a:ext>
                </a:extLst>
              </p:cNvPr>
              <p:cNvSpPr/>
              <p:nvPr/>
            </p:nvSpPr>
            <p:spPr>
              <a:xfrm>
                <a:off x="5124452" y="4382017"/>
                <a:ext cx="1944687" cy="438150"/>
              </a:xfrm>
              <a:prstGeom prst="roundRect">
                <a:avLst>
                  <a:gd name="adj" fmla="val 3926"/>
                </a:avLst>
              </a:prstGeom>
              <a:solidFill>
                <a:srgbClr val="FFA72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/>
                  <a:t> Share</a:t>
                </a:r>
              </a:p>
            </p:txBody>
          </p:sp>
          <p:pic>
            <p:nvPicPr>
              <p:cNvPr id="76" name="Picture 75">
                <a:extLst>
                  <a:ext uri="{FF2B5EF4-FFF2-40B4-BE49-F238E27FC236}">
                    <a16:creationId xmlns:a16="http://schemas.microsoft.com/office/drawing/2014/main" id="{CB58F751-E53B-4930-8F4A-4A4D6843443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18464" r="17320"/>
              <a:stretch/>
            </p:blipFill>
            <p:spPr>
              <a:xfrm>
                <a:off x="6483668" y="4464884"/>
                <a:ext cx="207962" cy="257175"/>
              </a:xfrm>
              <a:prstGeom prst="rect">
                <a:avLst/>
              </a:prstGeom>
            </p:spPr>
          </p:pic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2176B01D-B2E6-43B2-B115-4AAEA3AAE495}"/>
                  </a:ext>
                </a:extLst>
              </p:cNvPr>
              <p:cNvSpPr/>
              <p:nvPr/>
            </p:nvSpPr>
            <p:spPr>
              <a:xfrm>
                <a:off x="3809206" y="3733800"/>
                <a:ext cx="2367227" cy="60937"/>
              </a:xfrm>
              <a:prstGeom prst="rect">
                <a:avLst/>
              </a:prstGeom>
              <a:solidFill>
                <a:srgbClr val="D9F6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D756E17-F4E1-440A-A3E2-15D2BD2ECA7B}"/>
                  </a:ext>
                </a:extLst>
              </p:cNvPr>
              <p:cNvSpPr/>
              <p:nvPr/>
            </p:nvSpPr>
            <p:spPr>
              <a:xfrm>
                <a:off x="4274818" y="2360321"/>
                <a:ext cx="1362456" cy="1358579"/>
              </a:xfrm>
              <a:prstGeom prst="ellipse">
                <a:avLst/>
              </a:prstGeom>
              <a:noFill/>
              <a:ln w="38100">
                <a:solidFill>
                  <a:srgbClr val="24465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Arrow: Circular 78">
                <a:extLst>
                  <a:ext uri="{FF2B5EF4-FFF2-40B4-BE49-F238E27FC236}">
                    <a16:creationId xmlns:a16="http://schemas.microsoft.com/office/drawing/2014/main" id="{0883D418-35D7-4ECC-8674-D4B0A1B8CD98}"/>
                  </a:ext>
                </a:extLst>
              </p:cNvPr>
              <p:cNvSpPr/>
              <p:nvPr/>
            </p:nvSpPr>
            <p:spPr>
              <a:xfrm rot="13728422" flipV="1">
                <a:off x="4089213" y="4498433"/>
                <a:ext cx="228600" cy="228600"/>
              </a:xfrm>
              <a:prstGeom prst="circularArrow">
                <a:avLst>
                  <a:gd name="adj1" fmla="val 8794"/>
                  <a:gd name="adj2" fmla="val 989256"/>
                  <a:gd name="adj3" fmla="val 20506049"/>
                  <a:gd name="adj4" fmla="val 6394727"/>
                  <a:gd name="adj5" fmla="val 15167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Arrow: Down 79">
                <a:extLst>
                  <a:ext uri="{FF2B5EF4-FFF2-40B4-BE49-F238E27FC236}">
                    <a16:creationId xmlns:a16="http://schemas.microsoft.com/office/drawing/2014/main" id="{B0723DA8-F7CE-4DE8-8547-079E82E437F8}"/>
                  </a:ext>
                </a:extLst>
              </p:cNvPr>
              <p:cNvSpPr/>
              <p:nvPr/>
            </p:nvSpPr>
            <p:spPr>
              <a:xfrm rot="3003962">
                <a:off x="4121142" y="4517234"/>
                <a:ext cx="67314" cy="70710"/>
              </a:xfrm>
              <a:prstGeom prst="downArrow">
                <a:avLst>
                  <a:gd name="adj1" fmla="val 0"/>
                  <a:gd name="adj2" fmla="val 8060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B38AFB46-98AF-4A90-99F3-E7DC3F130EE1}"/>
                  </a:ext>
                </a:extLst>
              </p:cNvPr>
              <p:cNvSpPr/>
              <p:nvPr/>
            </p:nvSpPr>
            <p:spPr>
              <a:xfrm>
                <a:off x="5475375" y="4025905"/>
                <a:ext cx="1008288" cy="275478"/>
              </a:xfrm>
              <a:prstGeom prst="rect">
                <a:avLst/>
              </a:prstGeom>
              <a:solidFill>
                <a:srgbClr val="D9F6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0" rtlCol="0" anchor="ctr"/>
              <a:lstStyle/>
              <a:p>
                <a:r>
                  <a:rPr lang="en-US" sz="175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Points!</a:t>
                </a:r>
              </a:p>
            </p:txBody>
          </p:sp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43CF3A84-E7ED-4478-9C1D-ECBD71A075D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r="6965"/>
              <a:stretch/>
            </p:blipFill>
            <p:spPr>
              <a:xfrm>
                <a:off x="1152525" y="1171575"/>
                <a:ext cx="7071536" cy="4514850"/>
              </a:xfrm>
              <a:prstGeom prst="rect">
                <a:avLst/>
              </a:prstGeom>
            </p:spPr>
          </p:pic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D0025E59-0E17-4696-9C31-12F64898F007}"/>
                  </a:ext>
                </a:extLst>
              </p:cNvPr>
              <p:cNvSpPr/>
              <p:nvPr/>
            </p:nvSpPr>
            <p:spPr>
              <a:xfrm>
                <a:off x="1689914" y="2706593"/>
                <a:ext cx="6534147" cy="169870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5E50AFB1-7983-48E7-975D-CAAB59E20288}"/>
                  </a:ext>
                </a:extLst>
              </p:cNvPr>
              <p:cNvSpPr/>
              <p:nvPr/>
            </p:nvSpPr>
            <p:spPr>
              <a:xfrm>
                <a:off x="3665120" y="2706592"/>
                <a:ext cx="522328" cy="27547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OR</a:t>
                </a: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C3AD29C6-DC98-4EC9-9753-50A5A54F3005}"/>
                  </a:ext>
                </a:extLst>
              </p:cNvPr>
              <p:cNvSpPr/>
              <p:nvPr/>
            </p:nvSpPr>
            <p:spPr>
              <a:xfrm>
                <a:off x="3551282" y="3118902"/>
                <a:ext cx="777240" cy="777240"/>
              </a:xfrm>
              <a:prstGeom prst="ellipse">
                <a:avLst/>
              </a:prstGeom>
              <a:solidFill>
                <a:srgbClr val="FFEED9"/>
              </a:solidFill>
              <a:ln w="190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86" name="Picture 85">
                <a:extLst>
                  <a:ext uri="{FF2B5EF4-FFF2-40B4-BE49-F238E27FC236}">
                    <a16:creationId xmlns:a16="http://schemas.microsoft.com/office/drawing/2014/main" id="{B30D82F5-8D9B-4388-8C94-0BD8FD9727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3581530" y="3148318"/>
                <a:ext cx="714375" cy="714375"/>
              </a:xfrm>
              <a:prstGeom prst="rect">
                <a:avLst/>
              </a:prstGeom>
            </p:spPr>
          </p:pic>
          <p:sp>
            <p:nvSpPr>
              <p:cNvPr id="87" name="Flowchart: Collate 86">
                <a:extLst>
                  <a:ext uri="{FF2B5EF4-FFF2-40B4-BE49-F238E27FC236}">
                    <a16:creationId xmlns:a16="http://schemas.microsoft.com/office/drawing/2014/main" id="{264EBEBF-368C-4534-B29F-9C105DFCDBD8}"/>
                  </a:ext>
                </a:extLst>
              </p:cNvPr>
              <p:cNvSpPr/>
              <p:nvPr/>
            </p:nvSpPr>
            <p:spPr>
              <a:xfrm rot="16200000">
                <a:off x="3911935" y="3629867"/>
                <a:ext cx="67774" cy="188909"/>
              </a:xfrm>
              <a:prstGeom prst="flowChartCollate">
                <a:avLst/>
              </a:prstGeom>
              <a:solidFill>
                <a:srgbClr val="DEDEDE"/>
              </a:solidFill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88" name="Picture 87">
                <a:extLst>
                  <a:ext uri="{FF2B5EF4-FFF2-40B4-BE49-F238E27FC236}">
                    <a16:creationId xmlns:a16="http://schemas.microsoft.com/office/drawing/2014/main" id="{1721FC76-0A25-4B19-90B8-8C128E6B34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4566951" y="3362068"/>
                <a:ext cx="266700" cy="257175"/>
              </a:xfrm>
              <a:prstGeom prst="rect">
                <a:avLst/>
              </a:prstGeom>
            </p:spPr>
          </p:pic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98A53FB0-AB53-4976-AF16-4F829FDE4660}"/>
                  </a:ext>
                </a:extLst>
              </p:cNvPr>
              <p:cNvSpPr/>
              <p:nvPr/>
            </p:nvSpPr>
            <p:spPr>
              <a:xfrm>
                <a:off x="4797183" y="3362068"/>
                <a:ext cx="3024187" cy="27547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how picture with my comments</a:t>
                </a: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760CB2AD-25EA-4835-B26B-30938181938B}"/>
                  </a:ext>
                </a:extLst>
              </p:cNvPr>
              <p:cNvSpPr/>
              <p:nvPr/>
            </p:nvSpPr>
            <p:spPr>
              <a:xfrm>
                <a:off x="1681939" y="3470937"/>
                <a:ext cx="1739783" cy="2571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4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Upload photo: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AF6C8635-83A5-4F03-9EFB-C186B7C3BC80}"/>
                  </a:ext>
                </a:extLst>
              </p:cNvPr>
              <p:cNvSpPr/>
              <p:nvPr/>
            </p:nvSpPr>
            <p:spPr>
              <a:xfrm>
                <a:off x="1681939" y="2097593"/>
                <a:ext cx="1315261" cy="32495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4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Create Avatar:</a:t>
                </a: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D557228D-07BF-4F3F-8C85-CAA5E2D67FD9}"/>
                  </a:ext>
                </a:extLst>
              </p:cNvPr>
              <p:cNvSpPr/>
              <p:nvPr/>
            </p:nvSpPr>
            <p:spPr>
              <a:xfrm>
                <a:off x="1681939" y="4042287"/>
                <a:ext cx="3024187" cy="16441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20000"/>
                  </a:lnSpc>
                </a:pPr>
                <a:r>
                  <a:rPr lang="en-US" sz="14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Make my profile public:</a:t>
                </a:r>
              </a:p>
              <a:p>
                <a:pPr>
                  <a:lnSpc>
                    <a:spcPct val="120000"/>
                  </a:lnSpc>
                </a:pPr>
                <a:endPara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sz="14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Notifications:</a:t>
                </a:r>
              </a:p>
              <a:p>
                <a:pPr>
                  <a:lnSpc>
                    <a:spcPct val="120000"/>
                  </a:lnSpc>
                </a:pPr>
                <a:endPara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sz="14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Audio/ Music:</a:t>
                </a:r>
              </a:p>
            </p:txBody>
          </p:sp>
          <p:pic>
            <p:nvPicPr>
              <p:cNvPr id="93" name="Picture 92">
                <a:extLst>
                  <a:ext uri="{FF2B5EF4-FFF2-40B4-BE49-F238E27FC236}">
                    <a16:creationId xmlns:a16="http://schemas.microsoft.com/office/drawing/2014/main" id="{2D7B61B1-A773-484F-B1D1-99EBE0088C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3595709" y="4154706"/>
                <a:ext cx="1038225" cy="428625"/>
              </a:xfrm>
              <a:prstGeom prst="rect">
                <a:avLst/>
              </a:prstGeom>
            </p:spPr>
          </p:pic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9CF7A52C-14ED-447D-9B6A-1FDE96AA1F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3595708" y="5119903"/>
                <a:ext cx="1038225" cy="428625"/>
              </a:xfrm>
              <a:prstGeom prst="rect">
                <a:avLst/>
              </a:prstGeom>
            </p:spPr>
          </p:pic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F8CC948A-6A2F-4D4E-B05E-3FAE7D69E1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3595707" y="4651747"/>
                <a:ext cx="1038225" cy="409575"/>
              </a:xfrm>
              <a:prstGeom prst="rect">
                <a:avLst/>
              </a:prstGeom>
            </p:spPr>
          </p:pic>
        </p:grp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67229F39-4017-48A1-8528-DF61EFC06A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901456" y="1493308"/>
              <a:ext cx="390525" cy="447675"/>
            </a:xfrm>
            <a:prstGeom prst="rect">
              <a:avLst/>
            </a:prstGeom>
          </p:spPr>
        </p:pic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6DF5A614-C8B7-4B38-A8FA-1CB49EFAC6E3}"/>
                </a:ext>
              </a:extLst>
            </p:cNvPr>
            <p:cNvSpPr/>
            <p:nvPr/>
          </p:nvSpPr>
          <p:spPr>
            <a:xfrm>
              <a:off x="6824191" y="5400610"/>
              <a:ext cx="1461842" cy="3429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AV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1162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2712"/>
            <a:ext cx="9906000" cy="6132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76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2712"/>
            <a:ext cx="9906000" cy="613257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2AEBBD6-9D84-4AAC-B90A-5A4099EE9A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28687"/>
            <a:ext cx="9906000" cy="566737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1C913A1-5A0F-4D6A-B1F3-4F75E977DA3F}"/>
              </a:ext>
            </a:extLst>
          </p:cNvPr>
          <p:cNvSpPr/>
          <p:nvPr/>
        </p:nvSpPr>
        <p:spPr>
          <a:xfrm>
            <a:off x="123824" y="4791074"/>
            <a:ext cx="9610725" cy="1804988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" rIns="91440" rtlCol="0" anchor="t"/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Your Corn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44057EF-B50B-44FF-AAD9-4660290CEF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274" y="5053012"/>
            <a:ext cx="9267825" cy="1543050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36A5FEDF-D76B-46FA-A81C-C88DC5D44AA5}"/>
              </a:ext>
            </a:extLst>
          </p:cNvPr>
          <p:cNvSpPr/>
          <p:nvPr/>
        </p:nvSpPr>
        <p:spPr>
          <a:xfrm>
            <a:off x="2548468" y="5053012"/>
            <a:ext cx="83607" cy="1543050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A1398BD-0C46-4DB0-8380-9F63530DEBFD}"/>
              </a:ext>
            </a:extLst>
          </p:cNvPr>
          <p:cNvSpPr/>
          <p:nvPr/>
        </p:nvSpPr>
        <p:spPr>
          <a:xfrm>
            <a:off x="4888445" y="5053012"/>
            <a:ext cx="83607" cy="1543050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E1BC95F-7636-4257-864F-D698836F8E93}"/>
              </a:ext>
            </a:extLst>
          </p:cNvPr>
          <p:cNvSpPr/>
          <p:nvPr/>
        </p:nvSpPr>
        <p:spPr>
          <a:xfrm>
            <a:off x="7225772" y="5053012"/>
            <a:ext cx="83607" cy="1543050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E9B10E5-ADC9-403B-9C42-1235260A338D}"/>
              </a:ext>
            </a:extLst>
          </p:cNvPr>
          <p:cNvGrpSpPr/>
          <p:nvPr/>
        </p:nvGrpSpPr>
        <p:grpSpPr>
          <a:xfrm>
            <a:off x="1578242" y="3727249"/>
            <a:ext cx="635268" cy="182880"/>
            <a:chOff x="1549667" y="3821229"/>
            <a:chExt cx="635268" cy="232611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DDFAA005-0EAA-45E3-8D0B-0538489BCAD7}"/>
                </a:ext>
              </a:extLst>
            </p:cNvPr>
            <p:cNvSpPr/>
            <p:nvPr/>
          </p:nvSpPr>
          <p:spPr>
            <a:xfrm>
              <a:off x="1549667" y="3821229"/>
              <a:ext cx="635268" cy="232611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</a:rPr>
                <a:t>4.5</a:t>
              </a:r>
            </a:p>
          </p:txBody>
        </p:sp>
        <p:sp>
          <p:nvSpPr>
            <p:cNvPr id="93" name="Star: 5 Points 92">
              <a:extLst>
                <a:ext uri="{FF2B5EF4-FFF2-40B4-BE49-F238E27FC236}">
                  <a16:creationId xmlns:a16="http://schemas.microsoft.com/office/drawing/2014/main" id="{0B622B28-83F0-4332-BD8B-BC7420DBACB9}"/>
                </a:ext>
              </a:extLst>
            </p:cNvPr>
            <p:cNvSpPr/>
            <p:nvPr/>
          </p:nvSpPr>
          <p:spPr>
            <a:xfrm>
              <a:off x="1798721" y="3856254"/>
              <a:ext cx="137160" cy="137160"/>
            </a:xfrm>
            <a:prstGeom prst="star5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3EBE879-DCD0-4A13-89D0-C90BBE60C8E4}"/>
              </a:ext>
            </a:extLst>
          </p:cNvPr>
          <p:cNvGrpSpPr/>
          <p:nvPr/>
        </p:nvGrpSpPr>
        <p:grpSpPr>
          <a:xfrm>
            <a:off x="3946525" y="6380379"/>
            <a:ext cx="635268" cy="182880"/>
            <a:chOff x="1549667" y="3821229"/>
            <a:chExt cx="635268" cy="232611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F449F8EB-77A0-44B2-BD27-ABF497470C7E}"/>
                </a:ext>
              </a:extLst>
            </p:cNvPr>
            <p:cNvSpPr/>
            <p:nvPr/>
          </p:nvSpPr>
          <p:spPr>
            <a:xfrm>
              <a:off x="1549667" y="3821229"/>
              <a:ext cx="635268" cy="232611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</a:rPr>
                <a:t>4.0</a:t>
              </a:r>
            </a:p>
          </p:txBody>
        </p:sp>
        <p:sp>
          <p:nvSpPr>
            <p:cNvPr id="96" name="Star: 5 Points 95">
              <a:extLst>
                <a:ext uri="{FF2B5EF4-FFF2-40B4-BE49-F238E27FC236}">
                  <a16:creationId xmlns:a16="http://schemas.microsoft.com/office/drawing/2014/main" id="{9A8CF9B3-EEE8-4628-8CCC-F69EB238F723}"/>
                </a:ext>
              </a:extLst>
            </p:cNvPr>
            <p:cNvSpPr/>
            <p:nvPr/>
          </p:nvSpPr>
          <p:spPr>
            <a:xfrm>
              <a:off x="1798721" y="3856254"/>
              <a:ext cx="137160" cy="137160"/>
            </a:xfrm>
            <a:prstGeom prst="star5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29367093-15EA-46A5-984D-79FBF5114E87}"/>
              </a:ext>
            </a:extLst>
          </p:cNvPr>
          <p:cNvGrpSpPr/>
          <p:nvPr/>
        </p:nvGrpSpPr>
        <p:grpSpPr>
          <a:xfrm>
            <a:off x="6268085" y="3713278"/>
            <a:ext cx="635268" cy="232611"/>
            <a:chOff x="1549667" y="3821229"/>
            <a:chExt cx="635268" cy="232611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6B36FBCB-8875-4B36-8A6B-AE3BABDAE4E4}"/>
                </a:ext>
              </a:extLst>
            </p:cNvPr>
            <p:cNvSpPr/>
            <p:nvPr/>
          </p:nvSpPr>
          <p:spPr>
            <a:xfrm>
              <a:off x="1549667" y="3821229"/>
              <a:ext cx="635268" cy="232611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</a:rPr>
                <a:t>5.0</a:t>
              </a:r>
            </a:p>
          </p:txBody>
        </p:sp>
        <p:sp>
          <p:nvSpPr>
            <p:cNvPr id="99" name="Star: 5 Points 98">
              <a:extLst>
                <a:ext uri="{FF2B5EF4-FFF2-40B4-BE49-F238E27FC236}">
                  <a16:creationId xmlns:a16="http://schemas.microsoft.com/office/drawing/2014/main" id="{BA4477C7-43EE-4500-83FB-14399ED1CB0C}"/>
                </a:ext>
              </a:extLst>
            </p:cNvPr>
            <p:cNvSpPr/>
            <p:nvPr/>
          </p:nvSpPr>
          <p:spPr>
            <a:xfrm>
              <a:off x="1798721" y="3856254"/>
              <a:ext cx="137160" cy="137160"/>
            </a:xfrm>
            <a:prstGeom prst="star5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65037AA3-A1B9-4E06-A8F0-C581164ADAA4}"/>
              </a:ext>
            </a:extLst>
          </p:cNvPr>
          <p:cNvSpPr/>
          <p:nvPr/>
        </p:nvSpPr>
        <p:spPr>
          <a:xfrm>
            <a:off x="8636368" y="3713278"/>
            <a:ext cx="635268" cy="232611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5.0</a:t>
            </a:r>
          </a:p>
        </p:txBody>
      </p:sp>
      <p:sp>
        <p:nvSpPr>
          <p:cNvPr id="101" name="Star: 5 Points 100">
            <a:extLst>
              <a:ext uri="{FF2B5EF4-FFF2-40B4-BE49-F238E27FC236}">
                <a16:creationId xmlns:a16="http://schemas.microsoft.com/office/drawing/2014/main" id="{8E59B072-EE93-44C4-A797-77ED58484194}"/>
              </a:ext>
            </a:extLst>
          </p:cNvPr>
          <p:cNvSpPr/>
          <p:nvPr/>
        </p:nvSpPr>
        <p:spPr>
          <a:xfrm>
            <a:off x="8868769" y="3749644"/>
            <a:ext cx="137160" cy="137160"/>
          </a:xfrm>
          <a:prstGeom prst="star5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B97AA41-8A15-4381-9F3F-6EE8DF82C86B}"/>
              </a:ext>
            </a:extLst>
          </p:cNvPr>
          <p:cNvGrpSpPr/>
          <p:nvPr/>
        </p:nvGrpSpPr>
        <p:grpSpPr>
          <a:xfrm>
            <a:off x="1548067" y="6331014"/>
            <a:ext cx="635268" cy="232611"/>
            <a:chOff x="1549667" y="3821229"/>
            <a:chExt cx="635268" cy="232611"/>
          </a:xfrm>
        </p:grpSpPr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21F672E-6CEB-4DFB-841A-19F1359508BD}"/>
                </a:ext>
              </a:extLst>
            </p:cNvPr>
            <p:cNvSpPr/>
            <p:nvPr/>
          </p:nvSpPr>
          <p:spPr>
            <a:xfrm>
              <a:off x="1549667" y="3821229"/>
              <a:ext cx="635268" cy="232611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</a:rPr>
                <a:t>4.5</a:t>
              </a:r>
            </a:p>
          </p:txBody>
        </p:sp>
        <p:sp>
          <p:nvSpPr>
            <p:cNvPr id="104" name="Star: 5 Points 103">
              <a:extLst>
                <a:ext uri="{FF2B5EF4-FFF2-40B4-BE49-F238E27FC236}">
                  <a16:creationId xmlns:a16="http://schemas.microsoft.com/office/drawing/2014/main" id="{5CB461EC-9A90-4D8F-887F-E4F7878167CC}"/>
                </a:ext>
              </a:extLst>
            </p:cNvPr>
            <p:cNvSpPr/>
            <p:nvPr/>
          </p:nvSpPr>
          <p:spPr>
            <a:xfrm>
              <a:off x="1798721" y="3856254"/>
              <a:ext cx="137160" cy="137160"/>
            </a:xfrm>
            <a:prstGeom prst="star5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BDC61EF-ADD6-4AA1-B7BF-75A8BE2A68BF}"/>
              </a:ext>
            </a:extLst>
          </p:cNvPr>
          <p:cNvGrpSpPr/>
          <p:nvPr/>
        </p:nvGrpSpPr>
        <p:grpSpPr>
          <a:xfrm>
            <a:off x="6237910" y="6346888"/>
            <a:ext cx="635268" cy="232611"/>
            <a:chOff x="1549667" y="3821229"/>
            <a:chExt cx="635268" cy="232611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D1FD5745-7122-4584-B976-02A9ADD86935}"/>
                </a:ext>
              </a:extLst>
            </p:cNvPr>
            <p:cNvSpPr/>
            <p:nvPr/>
          </p:nvSpPr>
          <p:spPr>
            <a:xfrm>
              <a:off x="1549667" y="3821229"/>
              <a:ext cx="635268" cy="232611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</a:rPr>
                <a:t>5.0</a:t>
              </a:r>
            </a:p>
          </p:txBody>
        </p:sp>
        <p:sp>
          <p:nvSpPr>
            <p:cNvPr id="107" name="Star: 5 Points 106">
              <a:extLst>
                <a:ext uri="{FF2B5EF4-FFF2-40B4-BE49-F238E27FC236}">
                  <a16:creationId xmlns:a16="http://schemas.microsoft.com/office/drawing/2014/main" id="{09A54FF6-CF34-401A-AAEF-3F5144640820}"/>
                </a:ext>
              </a:extLst>
            </p:cNvPr>
            <p:cNvSpPr/>
            <p:nvPr/>
          </p:nvSpPr>
          <p:spPr>
            <a:xfrm>
              <a:off x="1798721" y="3856254"/>
              <a:ext cx="137160" cy="137160"/>
            </a:xfrm>
            <a:prstGeom prst="star5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58B6D2E-E4C9-4269-BF18-2EF195B4C238}"/>
              </a:ext>
            </a:extLst>
          </p:cNvPr>
          <p:cNvSpPr/>
          <p:nvPr/>
        </p:nvSpPr>
        <p:spPr>
          <a:xfrm>
            <a:off x="8606193" y="6346888"/>
            <a:ext cx="635268" cy="232611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5.0</a:t>
            </a:r>
          </a:p>
        </p:txBody>
      </p:sp>
      <p:sp>
        <p:nvSpPr>
          <p:cNvPr id="109" name="Star: 5 Points 108">
            <a:extLst>
              <a:ext uri="{FF2B5EF4-FFF2-40B4-BE49-F238E27FC236}">
                <a16:creationId xmlns:a16="http://schemas.microsoft.com/office/drawing/2014/main" id="{764A2DD0-E4B4-4BDC-9E82-94BDE8AEF83F}"/>
              </a:ext>
            </a:extLst>
          </p:cNvPr>
          <p:cNvSpPr/>
          <p:nvPr/>
        </p:nvSpPr>
        <p:spPr>
          <a:xfrm>
            <a:off x="8855513" y="6377149"/>
            <a:ext cx="137160" cy="137160"/>
          </a:xfrm>
          <a:prstGeom prst="star5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0" name="Block Arc 109">
            <a:extLst>
              <a:ext uri="{FF2B5EF4-FFF2-40B4-BE49-F238E27FC236}">
                <a16:creationId xmlns:a16="http://schemas.microsoft.com/office/drawing/2014/main" id="{DC17DF07-0904-46B6-9359-4538322AE799}"/>
              </a:ext>
            </a:extLst>
          </p:cNvPr>
          <p:cNvSpPr/>
          <p:nvPr/>
        </p:nvSpPr>
        <p:spPr>
          <a:xfrm>
            <a:off x="3268445" y="2660212"/>
            <a:ext cx="822960" cy="822960"/>
          </a:xfrm>
          <a:prstGeom prst="blockArc">
            <a:avLst>
              <a:gd name="adj1" fmla="val 2878917"/>
              <a:gd name="adj2" fmla="val 21569031"/>
              <a:gd name="adj3" fmla="val 1112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00FD4EB0-127C-4D05-A4F0-201FA1A42836}"/>
              </a:ext>
            </a:extLst>
          </p:cNvPr>
          <p:cNvSpPr/>
          <p:nvPr/>
        </p:nvSpPr>
        <p:spPr>
          <a:xfrm>
            <a:off x="3310989" y="2942687"/>
            <a:ext cx="737871" cy="238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>
                    <a:lumMod val="95000"/>
                  </a:schemeClr>
                </a:solidFill>
              </a:rPr>
              <a:t>3 hr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4D9B0A4-6A7E-4D23-BD3F-45F2CA23B297}"/>
              </a:ext>
            </a:extLst>
          </p:cNvPr>
          <p:cNvSpPr/>
          <p:nvPr/>
        </p:nvSpPr>
        <p:spPr>
          <a:xfrm>
            <a:off x="3917950" y="3695402"/>
            <a:ext cx="880534" cy="23876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binar</a:t>
            </a: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273785DA-5A24-4F61-B21E-C6D076B664FB}"/>
              </a:ext>
            </a:extLst>
          </p:cNvPr>
          <p:cNvSpPr/>
          <p:nvPr/>
        </p:nvSpPr>
        <p:spPr>
          <a:xfrm>
            <a:off x="5920137" y="2818832"/>
            <a:ext cx="457200" cy="457200"/>
          </a:xfrm>
          <a:prstGeom prst="ellipse">
            <a:avLst/>
          </a:prstGeom>
          <a:solidFill>
            <a:srgbClr val="F44336"/>
          </a:solidFill>
          <a:ln>
            <a:solidFill>
              <a:srgbClr val="F443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9975C282-B6B2-4F40-B7E0-1792374C853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189" b="10780"/>
          <a:stretch/>
        </p:blipFill>
        <p:spPr>
          <a:xfrm>
            <a:off x="5991257" y="2897413"/>
            <a:ext cx="314960" cy="300037"/>
          </a:xfrm>
          <a:prstGeom prst="rect">
            <a:avLst/>
          </a:prstGeom>
        </p:spPr>
      </p:pic>
      <p:sp>
        <p:nvSpPr>
          <p:cNvPr id="115" name="Rectangle 114">
            <a:extLst>
              <a:ext uri="{FF2B5EF4-FFF2-40B4-BE49-F238E27FC236}">
                <a16:creationId xmlns:a16="http://schemas.microsoft.com/office/drawing/2014/main" id="{E65B690B-6EAB-4772-919E-0FA8CB7BE265}"/>
              </a:ext>
            </a:extLst>
          </p:cNvPr>
          <p:cNvSpPr/>
          <p:nvPr/>
        </p:nvSpPr>
        <p:spPr>
          <a:xfrm>
            <a:off x="4986337" y="3455987"/>
            <a:ext cx="792163" cy="219075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cience-Tech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769695F-D4E6-474B-98EE-953903D06F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5985" y="2406847"/>
            <a:ext cx="2267712" cy="2257721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8612B22-0EBC-49DA-85C3-B1D87252AB50}"/>
              </a:ext>
            </a:extLst>
          </p:cNvPr>
          <p:cNvSpPr/>
          <p:nvPr/>
        </p:nvSpPr>
        <p:spPr>
          <a:xfrm>
            <a:off x="295801" y="6078539"/>
            <a:ext cx="441326" cy="241300"/>
          </a:xfrm>
          <a:prstGeom prst="rect">
            <a:avLst/>
          </a:prstGeom>
          <a:solidFill>
            <a:srgbClr val="F443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dirty="0"/>
              <a:t>Art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31B1B9AB-CE3A-49DD-8276-8D325DA99C6E}"/>
              </a:ext>
            </a:extLst>
          </p:cNvPr>
          <p:cNvSpPr/>
          <p:nvPr/>
        </p:nvSpPr>
        <p:spPr>
          <a:xfrm>
            <a:off x="2624135" y="6075427"/>
            <a:ext cx="548640" cy="241300"/>
          </a:xfrm>
          <a:prstGeom prst="rect">
            <a:avLst/>
          </a:prstGeom>
          <a:solidFill>
            <a:srgbClr val="F443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dirty="0"/>
              <a:t>Sports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AB093984-33C9-43A1-9F4B-B1510489EFE9}"/>
              </a:ext>
            </a:extLst>
          </p:cNvPr>
          <p:cNvSpPr/>
          <p:nvPr/>
        </p:nvSpPr>
        <p:spPr>
          <a:xfrm>
            <a:off x="4958184" y="6075427"/>
            <a:ext cx="914400" cy="241300"/>
          </a:xfrm>
          <a:prstGeom prst="rect">
            <a:avLst/>
          </a:prstGeom>
          <a:solidFill>
            <a:srgbClr val="F443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dirty="0"/>
              <a:t>Sci-Tech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369CE67-4C2A-43F7-A1B0-B627F7B7B84A}"/>
              </a:ext>
            </a:extLst>
          </p:cNvPr>
          <p:cNvSpPr/>
          <p:nvPr/>
        </p:nvSpPr>
        <p:spPr>
          <a:xfrm>
            <a:off x="7297518" y="6075894"/>
            <a:ext cx="914400" cy="241300"/>
          </a:xfrm>
          <a:prstGeom prst="rect">
            <a:avLst/>
          </a:prstGeom>
          <a:solidFill>
            <a:srgbClr val="F443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dirty="0"/>
              <a:t>Sports</a:t>
            </a:r>
          </a:p>
        </p:txBody>
      </p:sp>
    </p:spTree>
    <p:extLst>
      <p:ext uri="{BB962C8B-B14F-4D97-AF65-F5344CB8AC3E}">
        <p14:creationId xmlns:p14="http://schemas.microsoft.com/office/powerpoint/2010/main" val="51356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96"/>
          <a:stretch/>
        </p:blipFill>
        <p:spPr>
          <a:xfrm>
            <a:off x="0" y="362712"/>
            <a:ext cx="9906000" cy="602856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BA05C9A-ACAC-4BDA-84F8-0F804BF4876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25"/>
          <a:stretch/>
        </p:blipFill>
        <p:spPr>
          <a:xfrm>
            <a:off x="-1" y="914400"/>
            <a:ext cx="9902952" cy="55614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DAD6D4-4107-4853-9D0D-02D67800CC4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30" b="81161"/>
          <a:stretch/>
        </p:blipFill>
        <p:spPr>
          <a:xfrm>
            <a:off x="-1" y="923925"/>
            <a:ext cx="9902952" cy="6096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678EBDB-A97A-43F7-A53A-9B281EE6BC68}"/>
              </a:ext>
            </a:extLst>
          </p:cNvPr>
          <p:cNvSpPr/>
          <p:nvPr/>
        </p:nvSpPr>
        <p:spPr>
          <a:xfrm>
            <a:off x="7900034" y="2506548"/>
            <a:ext cx="1840230" cy="22288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TRENDING</a:t>
            </a:r>
            <a:endParaRPr lang="en-US" sz="1000" b="1" dirty="0">
              <a:solidFill>
                <a:schemeClr val="tx1">
                  <a:lumMod val="85000"/>
                  <a:lumOff val="15000"/>
                </a:schemeClr>
              </a:solidFill>
              <a:ea typeface="Microsoft JhengHei UI" panose="020B0604030504040204" pitchFamily="34" charset="-120"/>
              <a:cs typeface="Tahom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News: Discovered – Planet That May Host Alien Life</a:t>
            </a:r>
          </a:p>
          <a:p>
            <a:pPr>
              <a:spcBef>
                <a:spcPts val="600"/>
              </a:spcBef>
            </a:pPr>
            <a:r>
              <a:rPr lang="en-US" sz="1000" dirty="0">
                <a:solidFill>
                  <a:schemeClr val="accent2">
                    <a:lumMod val="75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Quiz: Life outside the Earth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  <a:ea typeface="Microsoft JhengHei UI" panose="020B0604030504040204" pitchFamily="34" charset="-120"/>
              <a:cs typeface="Tahom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Explore: Which Book Character Do You Relate To?</a:t>
            </a:r>
          </a:p>
          <a:p>
            <a:pPr>
              <a:spcBef>
                <a:spcPts val="600"/>
              </a:spcBef>
            </a:pPr>
            <a:r>
              <a:rPr lang="en-US" sz="1000" dirty="0">
                <a:solidFill>
                  <a:schemeClr val="accent2">
                    <a:lumMod val="75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Poll: Who Is Your Favourite Book Character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43873CA-2A7C-435B-989B-4A9DF124D1F0}"/>
              </a:ext>
            </a:extLst>
          </p:cNvPr>
          <p:cNvSpPr/>
          <p:nvPr/>
        </p:nvSpPr>
        <p:spPr>
          <a:xfrm>
            <a:off x="577850" y="3965575"/>
            <a:ext cx="158750" cy="88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FDCF62-3C89-421A-826C-452DDFBA8CF5}"/>
              </a:ext>
            </a:extLst>
          </p:cNvPr>
          <p:cNvSpPr/>
          <p:nvPr/>
        </p:nvSpPr>
        <p:spPr>
          <a:xfrm>
            <a:off x="53975" y="3585606"/>
            <a:ext cx="625475" cy="23261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4.2</a:t>
            </a:r>
          </a:p>
        </p:txBody>
      </p:sp>
      <p:sp>
        <p:nvSpPr>
          <p:cNvPr id="9" name="Star: 5 Points 8">
            <a:extLst>
              <a:ext uri="{FF2B5EF4-FFF2-40B4-BE49-F238E27FC236}">
                <a16:creationId xmlns:a16="http://schemas.microsoft.com/office/drawing/2014/main" id="{89F6765C-E271-4F71-B9FD-35A8AC5486C7}"/>
              </a:ext>
            </a:extLst>
          </p:cNvPr>
          <p:cNvSpPr/>
          <p:nvPr/>
        </p:nvSpPr>
        <p:spPr>
          <a:xfrm>
            <a:off x="242430" y="3620973"/>
            <a:ext cx="137160" cy="137160"/>
          </a:xfrm>
          <a:prstGeom prst="star5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027DB8-EE8E-43AB-9150-5DBBCEEA4E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050" y="3795389"/>
            <a:ext cx="1085850" cy="202882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103793A-D5E1-4B43-8851-B45BD7662AE2}"/>
              </a:ext>
            </a:extLst>
          </p:cNvPr>
          <p:cNvSpPr/>
          <p:nvPr/>
        </p:nvSpPr>
        <p:spPr>
          <a:xfrm>
            <a:off x="546100" y="4208282"/>
            <a:ext cx="190500" cy="9384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19321FA-18C1-4962-8589-7DEC7694B306}"/>
              </a:ext>
            </a:extLst>
          </p:cNvPr>
          <p:cNvCxnSpPr/>
          <p:nvPr/>
        </p:nvCxnSpPr>
        <p:spPr>
          <a:xfrm>
            <a:off x="7951469" y="2762250"/>
            <a:ext cx="1649731" cy="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3953C883-DC21-404E-BDF8-D8FCB19F7026}"/>
              </a:ext>
            </a:extLst>
          </p:cNvPr>
          <p:cNvSpPr/>
          <p:nvPr/>
        </p:nvSpPr>
        <p:spPr>
          <a:xfrm>
            <a:off x="220346" y="5572125"/>
            <a:ext cx="265176" cy="265176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11480" indent="-285750" algn="ctr">
              <a:lnSpc>
                <a:spcPct val="120000"/>
              </a:lnSpc>
              <a:buSzPct val="90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AAC7406-CCF5-470F-BB47-C46908198132}"/>
              </a:ext>
            </a:extLst>
          </p:cNvPr>
          <p:cNvSpPr/>
          <p:nvPr/>
        </p:nvSpPr>
        <p:spPr>
          <a:xfrm>
            <a:off x="519971" y="4010025"/>
            <a:ext cx="856448" cy="22288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Rate </a:t>
            </a:r>
          </a:p>
          <a:p>
            <a:pPr>
              <a:spcBef>
                <a:spcPts val="1800"/>
              </a:spcBef>
            </a:pP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Share</a:t>
            </a:r>
          </a:p>
          <a:p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56</a:t>
            </a:r>
          </a:p>
          <a:p>
            <a:pPr>
              <a:spcBef>
                <a:spcPts val="600"/>
              </a:spcBef>
            </a:pP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Comment</a:t>
            </a:r>
          </a:p>
          <a:p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18</a:t>
            </a:r>
          </a:p>
          <a:p>
            <a:pPr>
              <a:spcBef>
                <a:spcPts val="900"/>
              </a:spcBef>
            </a:pP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Take a Quiz</a:t>
            </a:r>
          </a:p>
          <a:p>
            <a:pPr>
              <a:spcBef>
                <a:spcPts val="1800"/>
              </a:spcBef>
            </a:pP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Take a Poll</a:t>
            </a:r>
          </a:p>
          <a:p>
            <a:pPr>
              <a:spcBef>
                <a:spcPts val="1800"/>
              </a:spcBef>
            </a:pPr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ea typeface="Microsoft JhengHei UI" panose="020B0604030504040204" pitchFamily="34" charset="-120"/>
                <a:cs typeface="Tahoma" panose="020B0604030504040204" pitchFamily="34" charset="0"/>
              </a:rPr>
              <a:t>Write</a:t>
            </a:r>
            <a:endParaRPr lang="en-US" sz="700" dirty="0">
              <a:solidFill>
                <a:schemeClr val="accent2">
                  <a:lumMod val="75000"/>
                </a:schemeClr>
              </a:solidFill>
              <a:ea typeface="Microsoft JhengHei UI" panose="020B0604030504040204" pitchFamily="34" charset="-120"/>
              <a:cs typeface="Tahoma" panose="020B0604030504040204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A6BE8CD-C6C8-4404-8317-A457A3D4D2F7}"/>
              </a:ext>
            </a:extLst>
          </p:cNvPr>
          <p:cNvSpPr/>
          <p:nvPr/>
        </p:nvSpPr>
        <p:spPr>
          <a:xfrm>
            <a:off x="218746" y="5945904"/>
            <a:ext cx="265176" cy="265176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5730" algn="ctr">
              <a:lnSpc>
                <a:spcPct val="140000"/>
              </a:lnSpc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3AA9880E-6F94-449E-BE14-F1333F257E72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898" y="6019997"/>
            <a:ext cx="118872" cy="118872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C26FA65-6734-4E7F-B03E-8550B8CD87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00034" y="4314832"/>
            <a:ext cx="1828800" cy="79171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A6B5D82-6337-4F7A-9B62-6829557180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00034" y="5202266"/>
            <a:ext cx="1828800" cy="120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66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73"/>
          <a:stretch/>
        </p:blipFill>
        <p:spPr>
          <a:xfrm>
            <a:off x="0" y="362712"/>
            <a:ext cx="9906000" cy="598093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1FFE701-2D8F-4C7D-83D2-70ABCB9241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" y="933450"/>
            <a:ext cx="9896475" cy="55626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0D960D2-1C8D-4134-9B1E-5BD5BC3B036C}"/>
              </a:ext>
            </a:extLst>
          </p:cNvPr>
          <p:cNvSpPr/>
          <p:nvPr/>
        </p:nvSpPr>
        <p:spPr>
          <a:xfrm>
            <a:off x="404265" y="5366288"/>
            <a:ext cx="2103120" cy="699442"/>
          </a:xfrm>
          <a:prstGeom prst="rect">
            <a:avLst/>
          </a:prstGeom>
          <a:solidFill>
            <a:srgbClr val="A4B5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704088"/>
            <a:r>
              <a:rPr lang="en-US" sz="1050" b="1" dirty="0">
                <a:solidFill>
                  <a:schemeClr val="bg1"/>
                </a:solidFill>
              </a:rPr>
              <a:t>India Of My Dreams</a:t>
            </a:r>
          </a:p>
          <a:p>
            <a:pPr marL="704088"/>
            <a:r>
              <a:rPr lang="en-US" sz="800" b="1" dirty="0">
                <a:solidFill>
                  <a:schemeClr val="bg1"/>
                </a:solidFill>
              </a:rPr>
              <a:t>by Shreya J</a:t>
            </a:r>
          </a:p>
          <a:p>
            <a:pPr marL="704088">
              <a:spcBef>
                <a:spcPts val="600"/>
              </a:spcBef>
            </a:pPr>
            <a:r>
              <a:rPr lang="en-US" sz="800" u="sng" dirty="0">
                <a:solidFill>
                  <a:schemeClr val="bg1"/>
                </a:solidFill>
              </a:rPr>
              <a:t>Your Corn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60BC671-E71F-4B8D-B873-A84FC509BA4C}"/>
              </a:ext>
            </a:extLst>
          </p:cNvPr>
          <p:cNvSpPr/>
          <p:nvPr/>
        </p:nvSpPr>
        <p:spPr>
          <a:xfrm>
            <a:off x="2760856" y="5359866"/>
            <a:ext cx="2103120" cy="699442"/>
          </a:xfrm>
          <a:prstGeom prst="rect">
            <a:avLst/>
          </a:prstGeom>
          <a:solidFill>
            <a:srgbClr val="E37D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704088"/>
            <a:r>
              <a:rPr lang="en-US" sz="1050" b="1" dirty="0">
                <a:solidFill>
                  <a:schemeClr val="bg1"/>
                </a:solidFill>
              </a:rPr>
              <a:t>Victims of Anger</a:t>
            </a:r>
          </a:p>
          <a:p>
            <a:pPr marL="704088"/>
            <a:r>
              <a:rPr lang="en-US" sz="800" dirty="0">
                <a:solidFill>
                  <a:schemeClr val="bg1"/>
                </a:solidFill>
              </a:rPr>
              <a:t>by Hardik K</a:t>
            </a:r>
            <a:endParaRPr lang="en-US" sz="800" u="sng" dirty="0">
              <a:solidFill>
                <a:schemeClr val="bg1"/>
              </a:solidFill>
            </a:endParaRPr>
          </a:p>
          <a:p>
            <a:pPr marL="704088">
              <a:spcBef>
                <a:spcPts val="600"/>
              </a:spcBef>
            </a:pPr>
            <a:r>
              <a:rPr lang="en-US" sz="800" u="sng" dirty="0">
                <a:solidFill>
                  <a:schemeClr val="bg1"/>
                </a:solidFill>
              </a:rPr>
              <a:t>Your Corn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33E61B-49CF-434C-B1AE-3E03A2FEA36A}"/>
              </a:ext>
            </a:extLst>
          </p:cNvPr>
          <p:cNvSpPr/>
          <p:nvPr/>
        </p:nvSpPr>
        <p:spPr>
          <a:xfrm>
            <a:off x="5117447" y="5359866"/>
            <a:ext cx="2103120" cy="699442"/>
          </a:xfrm>
          <a:prstGeom prst="rect">
            <a:avLst/>
          </a:prstGeom>
          <a:solidFill>
            <a:srgbClr val="418D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704088"/>
            <a:r>
              <a:rPr lang="en-US" sz="1050" b="1" dirty="0">
                <a:solidFill>
                  <a:schemeClr val="bg1"/>
                </a:solidFill>
              </a:rPr>
              <a:t>Victims of Anger</a:t>
            </a:r>
          </a:p>
          <a:p>
            <a:pPr marL="704088"/>
            <a:r>
              <a:rPr lang="en-US" sz="800" dirty="0">
                <a:solidFill>
                  <a:schemeClr val="bg1"/>
                </a:solidFill>
              </a:rPr>
              <a:t>by Roma R</a:t>
            </a:r>
            <a:endParaRPr lang="en-US" sz="800" u="sng" dirty="0">
              <a:solidFill>
                <a:schemeClr val="bg1"/>
              </a:solidFill>
            </a:endParaRPr>
          </a:p>
          <a:p>
            <a:pPr marL="704088">
              <a:spcBef>
                <a:spcPts val="600"/>
              </a:spcBef>
            </a:pPr>
            <a:r>
              <a:rPr lang="en-US" sz="800" u="sng" dirty="0">
                <a:solidFill>
                  <a:schemeClr val="bg1"/>
                </a:solidFill>
              </a:rPr>
              <a:t>Your Corn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181ED6A-5573-4F34-9631-8D6BBC865C78}"/>
              </a:ext>
            </a:extLst>
          </p:cNvPr>
          <p:cNvSpPr/>
          <p:nvPr/>
        </p:nvSpPr>
        <p:spPr>
          <a:xfrm>
            <a:off x="7474038" y="5366288"/>
            <a:ext cx="2103120" cy="699442"/>
          </a:xfrm>
          <a:prstGeom prst="rect">
            <a:avLst/>
          </a:prstGeom>
          <a:solidFill>
            <a:srgbClr val="5452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704088"/>
            <a:r>
              <a:rPr lang="en-US" sz="1050" b="1" dirty="0"/>
              <a:t>Technology vs Human Relationships</a:t>
            </a:r>
          </a:p>
          <a:p>
            <a:pPr marL="704088" lvl="0"/>
            <a:r>
              <a:rPr lang="en-US" sz="800" b="1" dirty="0">
                <a:solidFill>
                  <a:prstClr val="white"/>
                </a:solidFill>
              </a:rPr>
              <a:t>by Shreya J</a:t>
            </a:r>
          </a:p>
          <a:p>
            <a:pPr marL="704088"/>
            <a:r>
              <a:rPr lang="en-US" sz="800" u="sng" dirty="0"/>
              <a:t>Your Corne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6B647EA-D21C-4990-8863-B6EA6C951F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00750" y="3936312"/>
            <a:ext cx="114300" cy="142875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63936EEB-0BB8-4BF7-A7FD-DB6CB649F2CE}"/>
              </a:ext>
            </a:extLst>
          </p:cNvPr>
          <p:cNvGrpSpPr/>
          <p:nvPr/>
        </p:nvGrpSpPr>
        <p:grpSpPr>
          <a:xfrm>
            <a:off x="1790432" y="3926879"/>
            <a:ext cx="638443" cy="232611"/>
            <a:chOff x="399782" y="4122392"/>
            <a:chExt cx="638443" cy="23261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C930E30-0FA8-412D-93B2-6BA78D15D05C}"/>
                </a:ext>
              </a:extLst>
            </p:cNvPr>
            <p:cNvSpPr/>
            <p:nvPr/>
          </p:nvSpPr>
          <p:spPr>
            <a:xfrm>
              <a:off x="404262" y="4131825"/>
              <a:ext cx="633963" cy="20205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875169-9EAC-4D08-B017-8C96EB0FDFC7}"/>
                </a:ext>
              </a:extLst>
            </p:cNvPr>
            <p:cNvSpPr/>
            <p:nvPr/>
          </p:nvSpPr>
          <p:spPr>
            <a:xfrm>
              <a:off x="399782" y="4122392"/>
              <a:ext cx="425718" cy="2326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5.0</a:t>
              </a:r>
            </a:p>
          </p:txBody>
        </p:sp>
        <p:sp>
          <p:nvSpPr>
            <p:cNvPr id="20" name="Star: 5 Points 19">
              <a:extLst>
                <a:ext uri="{FF2B5EF4-FFF2-40B4-BE49-F238E27FC236}">
                  <a16:creationId xmlns:a16="http://schemas.microsoft.com/office/drawing/2014/main" id="{C5671080-B428-4C72-9D75-2EB332BA8061}"/>
                </a:ext>
              </a:extLst>
            </p:cNvPr>
            <p:cNvSpPr/>
            <p:nvPr/>
          </p:nvSpPr>
          <p:spPr>
            <a:xfrm>
              <a:off x="441683" y="4158758"/>
              <a:ext cx="137160" cy="137160"/>
            </a:xfrm>
            <a:prstGeom prst="star5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Arrow: Chevron 20">
              <a:extLst>
                <a:ext uri="{FF2B5EF4-FFF2-40B4-BE49-F238E27FC236}">
                  <a16:creationId xmlns:a16="http://schemas.microsoft.com/office/drawing/2014/main" id="{3759DB26-7E12-46F8-850C-7CA1228630C2}"/>
                </a:ext>
              </a:extLst>
            </p:cNvPr>
            <p:cNvSpPr/>
            <p:nvPr/>
          </p:nvSpPr>
          <p:spPr>
            <a:xfrm rot="16200000">
              <a:off x="892176" y="4192977"/>
              <a:ext cx="133350" cy="91440"/>
            </a:xfrm>
            <a:prstGeom prst="chevro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BB3A51E-6BF7-47C0-88CF-CD45E8988FE8}"/>
                </a:ext>
              </a:extLst>
            </p:cNvPr>
            <p:cNvSpPr/>
            <p:nvPr/>
          </p:nvSpPr>
          <p:spPr>
            <a:xfrm>
              <a:off x="912267" y="4173577"/>
              <a:ext cx="91440" cy="7245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14ED7A0-7FC3-44F9-AFD0-5399EB4F0D6E}"/>
              </a:ext>
            </a:extLst>
          </p:cNvPr>
          <p:cNvGrpSpPr/>
          <p:nvPr/>
        </p:nvGrpSpPr>
        <p:grpSpPr>
          <a:xfrm>
            <a:off x="4133582" y="3907829"/>
            <a:ext cx="638443" cy="232611"/>
            <a:chOff x="399782" y="4122392"/>
            <a:chExt cx="638443" cy="232611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9A4139B-4498-48FC-B5FB-5B7E2F79EAEC}"/>
                </a:ext>
              </a:extLst>
            </p:cNvPr>
            <p:cNvSpPr/>
            <p:nvPr/>
          </p:nvSpPr>
          <p:spPr>
            <a:xfrm>
              <a:off x="404262" y="4131825"/>
              <a:ext cx="633963" cy="20205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D029514-6134-40BD-A1ED-3CEC19126F37}"/>
                </a:ext>
              </a:extLst>
            </p:cNvPr>
            <p:cNvSpPr/>
            <p:nvPr/>
          </p:nvSpPr>
          <p:spPr>
            <a:xfrm>
              <a:off x="399782" y="4122392"/>
              <a:ext cx="425718" cy="2326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.5</a:t>
              </a:r>
            </a:p>
          </p:txBody>
        </p:sp>
        <p:sp>
          <p:nvSpPr>
            <p:cNvPr id="27" name="Star: 5 Points 26">
              <a:extLst>
                <a:ext uri="{FF2B5EF4-FFF2-40B4-BE49-F238E27FC236}">
                  <a16:creationId xmlns:a16="http://schemas.microsoft.com/office/drawing/2014/main" id="{8E5954D1-CB81-4EDB-BE92-6D6003C5F0C2}"/>
                </a:ext>
              </a:extLst>
            </p:cNvPr>
            <p:cNvSpPr/>
            <p:nvPr/>
          </p:nvSpPr>
          <p:spPr>
            <a:xfrm>
              <a:off x="441683" y="4158758"/>
              <a:ext cx="137160" cy="137160"/>
            </a:xfrm>
            <a:prstGeom prst="star5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Arrow: Chevron 27">
              <a:extLst>
                <a:ext uri="{FF2B5EF4-FFF2-40B4-BE49-F238E27FC236}">
                  <a16:creationId xmlns:a16="http://schemas.microsoft.com/office/drawing/2014/main" id="{7578BE2F-7D47-47B0-AFAA-ABE350BED115}"/>
                </a:ext>
              </a:extLst>
            </p:cNvPr>
            <p:cNvSpPr/>
            <p:nvPr/>
          </p:nvSpPr>
          <p:spPr>
            <a:xfrm rot="16200000">
              <a:off x="892176" y="4192977"/>
              <a:ext cx="133350" cy="91440"/>
            </a:xfrm>
            <a:prstGeom prst="chevro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80C41B6-9625-4AFF-A4CC-7C08C765A699}"/>
                </a:ext>
              </a:extLst>
            </p:cNvPr>
            <p:cNvSpPr/>
            <p:nvPr/>
          </p:nvSpPr>
          <p:spPr>
            <a:xfrm>
              <a:off x="912267" y="4173577"/>
              <a:ext cx="91440" cy="7245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AB1C8E0-7DC3-40A1-A233-C3256A668BB1}"/>
              </a:ext>
            </a:extLst>
          </p:cNvPr>
          <p:cNvGrpSpPr/>
          <p:nvPr/>
        </p:nvGrpSpPr>
        <p:grpSpPr>
          <a:xfrm>
            <a:off x="6505307" y="3898304"/>
            <a:ext cx="638443" cy="232611"/>
            <a:chOff x="399782" y="4122392"/>
            <a:chExt cx="638443" cy="23261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6FD7D43-180A-49B9-829B-F0B19126D403}"/>
                </a:ext>
              </a:extLst>
            </p:cNvPr>
            <p:cNvSpPr/>
            <p:nvPr/>
          </p:nvSpPr>
          <p:spPr>
            <a:xfrm>
              <a:off x="404262" y="4131825"/>
              <a:ext cx="633963" cy="20205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FF41925-4243-49CA-86B1-95361E094701}"/>
                </a:ext>
              </a:extLst>
            </p:cNvPr>
            <p:cNvSpPr/>
            <p:nvPr/>
          </p:nvSpPr>
          <p:spPr>
            <a:xfrm>
              <a:off x="399782" y="4122392"/>
              <a:ext cx="425718" cy="2326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.2</a:t>
              </a:r>
            </a:p>
          </p:txBody>
        </p:sp>
        <p:sp>
          <p:nvSpPr>
            <p:cNvPr id="33" name="Star: 5 Points 32">
              <a:extLst>
                <a:ext uri="{FF2B5EF4-FFF2-40B4-BE49-F238E27FC236}">
                  <a16:creationId xmlns:a16="http://schemas.microsoft.com/office/drawing/2014/main" id="{06CBDEF2-20AC-4C0B-A547-8B96E12049BF}"/>
                </a:ext>
              </a:extLst>
            </p:cNvPr>
            <p:cNvSpPr/>
            <p:nvPr/>
          </p:nvSpPr>
          <p:spPr>
            <a:xfrm>
              <a:off x="441683" y="4158758"/>
              <a:ext cx="137160" cy="137160"/>
            </a:xfrm>
            <a:prstGeom prst="star5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Arrow: Chevron 33">
              <a:extLst>
                <a:ext uri="{FF2B5EF4-FFF2-40B4-BE49-F238E27FC236}">
                  <a16:creationId xmlns:a16="http://schemas.microsoft.com/office/drawing/2014/main" id="{FC304B75-9329-47E4-A3D3-56435D89D5D7}"/>
                </a:ext>
              </a:extLst>
            </p:cNvPr>
            <p:cNvSpPr/>
            <p:nvPr/>
          </p:nvSpPr>
          <p:spPr>
            <a:xfrm rot="16200000">
              <a:off x="892176" y="4192977"/>
              <a:ext cx="133350" cy="91440"/>
            </a:xfrm>
            <a:prstGeom prst="chevro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972246B-66E8-403F-8847-AD770D00DC18}"/>
                </a:ext>
              </a:extLst>
            </p:cNvPr>
            <p:cNvSpPr/>
            <p:nvPr/>
          </p:nvSpPr>
          <p:spPr>
            <a:xfrm>
              <a:off x="912267" y="4173577"/>
              <a:ext cx="91440" cy="7245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69CD09E-5CEA-4A76-8B25-66A976F199D3}"/>
              </a:ext>
            </a:extLst>
          </p:cNvPr>
          <p:cNvGrpSpPr/>
          <p:nvPr/>
        </p:nvGrpSpPr>
        <p:grpSpPr>
          <a:xfrm>
            <a:off x="8867507" y="3898304"/>
            <a:ext cx="638443" cy="232611"/>
            <a:chOff x="399782" y="4122392"/>
            <a:chExt cx="638443" cy="232611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57772A6-69C7-47AB-8831-8C75A4CB0FFE}"/>
                </a:ext>
              </a:extLst>
            </p:cNvPr>
            <p:cNvSpPr/>
            <p:nvPr/>
          </p:nvSpPr>
          <p:spPr>
            <a:xfrm>
              <a:off x="404262" y="4131825"/>
              <a:ext cx="633963" cy="20205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3256ADC-4EA9-45B1-B6A9-7CED699DF61B}"/>
                </a:ext>
              </a:extLst>
            </p:cNvPr>
            <p:cNvSpPr/>
            <p:nvPr/>
          </p:nvSpPr>
          <p:spPr>
            <a:xfrm>
              <a:off x="399782" y="4122392"/>
              <a:ext cx="425718" cy="2326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.7</a:t>
              </a:r>
            </a:p>
          </p:txBody>
        </p:sp>
        <p:sp>
          <p:nvSpPr>
            <p:cNvPr id="39" name="Star: 5 Points 38">
              <a:extLst>
                <a:ext uri="{FF2B5EF4-FFF2-40B4-BE49-F238E27FC236}">
                  <a16:creationId xmlns:a16="http://schemas.microsoft.com/office/drawing/2014/main" id="{A6FF32F7-807D-4365-8D70-E3E21C18CF93}"/>
                </a:ext>
              </a:extLst>
            </p:cNvPr>
            <p:cNvSpPr/>
            <p:nvPr/>
          </p:nvSpPr>
          <p:spPr>
            <a:xfrm>
              <a:off x="441683" y="4158758"/>
              <a:ext cx="137160" cy="137160"/>
            </a:xfrm>
            <a:prstGeom prst="star5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" name="Arrow: Chevron 39">
              <a:extLst>
                <a:ext uri="{FF2B5EF4-FFF2-40B4-BE49-F238E27FC236}">
                  <a16:creationId xmlns:a16="http://schemas.microsoft.com/office/drawing/2014/main" id="{670D2D78-8C04-49EC-AACA-AF4C4C2AE7A3}"/>
                </a:ext>
              </a:extLst>
            </p:cNvPr>
            <p:cNvSpPr/>
            <p:nvPr/>
          </p:nvSpPr>
          <p:spPr>
            <a:xfrm rot="16200000">
              <a:off x="892176" y="4192977"/>
              <a:ext cx="133350" cy="91440"/>
            </a:xfrm>
            <a:prstGeom prst="chevro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B96BEBB-BC04-4C2A-899F-890D706CA77F}"/>
                </a:ext>
              </a:extLst>
            </p:cNvPr>
            <p:cNvSpPr/>
            <p:nvPr/>
          </p:nvSpPr>
          <p:spPr>
            <a:xfrm>
              <a:off x="912267" y="4173577"/>
              <a:ext cx="91440" cy="7245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16C24D76-78FC-413A-8A88-1C8F36763D7F}"/>
              </a:ext>
            </a:extLst>
          </p:cNvPr>
          <p:cNvSpPr/>
          <p:nvPr/>
        </p:nvSpPr>
        <p:spPr>
          <a:xfrm>
            <a:off x="2756093" y="5359866"/>
            <a:ext cx="606388" cy="699442"/>
          </a:xfrm>
          <a:prstGeom prst="rect">
            <a:avLst/>
          </a:prstGeom>
          <a:solidFill>
            <a:srgbClr val="E37D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bIns="0" rtlCol="0" anchor="b"/>
          <a:lstStyle/>
          <a:p>
            <a:pPr algn="ctr">
              <a:lnSpc>
                <a:spcPct val="80000"/>
              </a:lnSpc>
            </a:pPr>
            <a:endParaRPr lang="en-US" sz="800" u="sng" dirty="0">
              <a:solidFill>
                <a:schemeClr val="bg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CE6999F-0D80-4198-AD63-0367B93DB8A1}"/>
              </a:ext>
            </a:extLst>
          </p:cNvPr>
          <p:cNvSpPr/>
          <p:nvPr/>
        </p:nvSpPr>
        <p:spPr>
          <a:xfrm>
            <a:off x="5109843" y="5359866"/>
            <a:ext cx="606388" cy="699442"/>
          </a:xfrm>
          <a:prstGeom prst="rect">
            <a:avLst/>
          </a:prstGeom>
          <a:solidFill>
            <a:srgbClr val="418D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bIns="0" rtlCol="0" anchor="b"/>
          <a:lstStyle/>
          <a:p>
            <a:pPr algn="ctr">
              <a:lnSpc>
                <a:spcPct val="80000"/>
              </a:lnSpc>
            </a:pPr>
            <a:endParaRPr lang="en-US" sz="800" u="sng" dirty="0">
              <a:solidFill>
                <a:schemeClr val="bg1"/>
              </a:solidFill>
            </a:endParaRPr>
          </a:p>
        </p:txBody>
      </p:sp>
      <p:pic>
        <p:nvPicPr>
          <p:cNvPr id="2050" name="Picture 2" descr="Image result for children portrait">
            <a:extLst>
              <a:ext uri="{FF2B5EF4-FFF2-40B4-BE49-F238E27FC236}">
                <a16:creationId xmlns:a16="http://schemas.microsoft.com/office/drawing/2014/main" id="{B15E03EC-EB5D-4B8B-A672-1CC52EF33F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5180" r="5586" b="32340"/>
          <a:stretch/>
        </p:blipFill>
        <p:spPr bwMode="auto">
          <a:xfrm>
            <a:off x="399502" y="5366286"/>
            <a:ext cx="704088" cy="700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children portrait">
            <a:extLst>
              <a:ext uri="{FF2B5EF4-FFF2-40B4-BE49-F238E27FC236}">
                <a16:creationId xmlns:a16="http://schemas.microsoft.com/office/drawing/2014/main" id="{FC2D9BDD-3575-4117-899F-CFC6C9ABF8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48" t="7377" r="25089" b="19398"/>
          <a:stretch/>
        </p:blipFill>
        <p:spPr bwMode="auto">
          <a:xfrm>
            <a:off x="2753252" y="5359866"/>
            <a:ext cx="704088" cy="705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Image result for children portrait">
            <a:extLst>
              <a:ext uri="{FF2B5EF4-FFF2-40B4-BE49-F238E27FC236}">
                <a16:creationId xmlns:a16="http://schemas.microsoft.com/office/drawing/2014/main" id="{9C74668C-AEC2-48CC-98AE-6D64CAD623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5180" r="5586" b="32340"/>
          <a:stretch/>
        </p:blipFill>
        <p:spPr bwMode="auto">
          <a:xfrm>
            <a:off x="7475923" y="5366286"/>
            <a:ext cx="704088" cy="700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Image result for india children portrait">
            <a:extLst>
              <a:ext uri="{FF2B5EF4-FFF2-40B4-BE49-F238E27FC236}">
                <a16:creationId xmlns:a16="http://schemas.microsoft.com/office/drawing/2014/main" id="{D15F58C8-FCAA-4449-BE7C-A73DB308A3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26" r="15091"/>
          <a:stretch/>
        </p:blipFill>
        <p:spPr bwMode="auto">
          <a:xfrm>
            <a:off x="5119332" y="5357718"/>
            <a:ext cx="704088" cy="701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25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1"/>
          <a:stretch/>
        </p:blipFill>
        <p:spPr>
          <a:xfrm>
            <a:off x="0" y="362712"/>
            <a:ext cx="9906000" cy="601903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276100-C83E-471E-9068-E7D28D35AD6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09"/>
          <a:stretch/>
        </p:blipFill>
        <p:spPr>
          <a:xfrm>
            <a:off x="-1" y="923924"/>
            <a:ext cx="9902952" cy="553291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350D9DA-DE37-4E26-8426-70C1C66658E9}"/>
              </a:ext>
            </a:extLst>
          </p:cNvPr>
          <p:cNvSpPr/>
          <p:nvPr/>
        </p:nvSpPr>
        <p:spPr>
          <a:xfrm>
            <a:off x="3513138" y="6202363"/>
            <a:ext cx="1085850" cy="220661"/>
          </a:xfrm>
          <a:prstGeom prst="rect">
            <a:avLst/>
          </a:prstGeom>
          <a:solidFill>
            <a:srgbClr val="FFCE00"/>
          </a:solidFill>
          <a:ln>
            <a:solidFill>
              <a:srgbClr val="FFC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70000"/>
              </a:lnSpc>
            </a:pPr>
            <a:r>
              <a:rPr lang="en-US" sz="1050" dirty="0">
                <a:solidFill>
                  <a:schemeClr val="tx1"/>
                </a:solidFill>
              </a:rPr>
              <a:t>Inter School Debate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F9B0ED45-4DA6-4FB1-ABDB-4FC520E261CD}"/>
              </a:ext>
            </a:extLst>
          </p:cNvPr>
          <p:cNvSpPr/>
          <p:nvPr/>
        </p:nvSpPr>
        <p:spPr>
          <a:xfrm>
            <a:off x="4548606" y="5203387"/>
            <a:ext cx="822960" cy="822960"/>
          </a:xfrm>
          <a:prstGeom prst="blockArc">
            <a:avLst>
              <a:gd name="adj1" fmla="val 8125885"/>
              <a:gd name="adj2" fmla="val 21569031"/>
              <a:gd name="adj3" fmla="val 1112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FD6723-2E4F-42E7-BEE9-6000FF888CC5}"/>
              </a:ext>
            </a:extLst>
          </p:cNvPr>
          <p:cNvSpPr/>
          <p:nvPr/>
        </p:nvSpPr>
        <p:spPr>
          <a:xfrm>
            <a:off x="4591150" y="5495487"/>
            <a:ext cx="737871" cy="238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>
                <a:solidFill>
                  <a:schemeClr val="bg1"/>
                </a:solidFill>
              </a:rPr>
              <a:t>1 hr </a:t>
            </a:r>
          </a:p>
          <a:p>
            <a:pPr algn="ctr"/>
            <a:r>
              <a:rPr lang="en-US" sz="1050" dirty="0">
                <a:solidFill>
                  <a:schemeClr val="bg1"/>
                </a:solidFill>
              </a:rPr>
              <a:t>41 mi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2BA770-7BE2-487A-A677-0EBE81F0166E}"/>
              </a:ext>
            </a:extLst>
          </p:cNvPr>
          <p:cNvSpPr/>
          <p:nvPr/>
        </p:nvSpPr>
        <p:spPr>
          <a:xfrm>
            <a:off x="2733407" y="3963642"/>
            <a:ext cx="425718" cy="232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accent4"/>
                </a:solidFill>
              </a:rPr>
              <a:t>4.5</a:t>
            </a:r>
          </a:p>
        </p:txBody>
      </p:sp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4E36B4E7-FE5B-4ED8-8B23-7DD60DA3892A}"/>
              </a:ext>
            </a:extLst>
          </p:cNvPr>
          <p:cNvSpPr/>
          <p:nvPr/>
        </p:nvSpPr>
        <p:spPr>
          <a:xfrm>
            <a:off x="2775308" y="4000008"/>
            <a:ext cx="137160" cy="13716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5985A4C-E64F-4D48-B955-D74B813F159F}"/>
              </a:ext>
            </a:extLst>
          </p:cNvPr>
          <p:cNvSpPr/>
          <p:nvPr/>
        </p:nvSpPr>
        <p:spPr>
          <a:xfrm>
            <a:off x="5818631" y="3965234"/>
            <a:ext cx="425718" cy="232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accent4"/>
                </a:solidFill>
              </a:rPr>
              <a:t>4.7</a:t>
            </a:r>
          </a:p>
        </p:txBody>
      </p:sp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1461C12E-C9D3-442E-A345-5772BC1ACB25}"/>
              </a:ext>
            </a:extLst>
          </p:cNvPr>
          <p:cNvSpPr/>
          <p:nvPr/>
        </p:nvSpPr>
        <p:spPr>
          <a:xfrm>
            <a:off x="5860532" y="4001600"/>
            <a:ext cx="137160" cy="13716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538928-54A9-427C-BC9F-98435B73339B}"/>
              </a:ext>
            </a:extLst>
          </p:cNvPr>
          <p:cNvSpPr/>
          <p:nvPr/>
        </p:nvSpPr>
        <p:spPr>
          <a:xfrm>
            <a:off x="8893939" y="3958344"/>
            <a:ext cx="425718" cy="232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accent4"/>
                </a:solidFill>
              </a:rPr>
              <a:t>5.0</a:t>
            </a:r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A0467A91-83E2-4848-A66F-F3E7D6B70847}"/>
              </a:ext>
            </a:extLst>
          </p:cNvPr>
          <p:cNvSpPr/>
          <p:nvPr/>
        </p:nvSpPr>
        <p:spPr>
          <a:xfrm>
            <a:off x="8935840" y="3994710"/>
            <a:ext cx="137160" cy="13716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4B0C47-C2C8-4D6C-9294-67813D8BD0FE}"/>
              </a:ext>
            </a:extLst>
          </p:cNvPr>
          <p:cNvSpPr/>
          <p:nvPr/>
        </p:nvSpPr>
        <p:spPr>
          <a:xfrm>
            <a:off x="2733410" y="6203076"/>
            <a:ext cx="425718" cy="232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accent4"/>
                </a:solidFill>
              </a:rPr>
              <a:t>4.7</a:t>
            </a:r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BA0F9A3B-7678-480B-BDAB-C5134185EEA1}"/>
              </a:ext>
            </a:extLst>
          </p:cNvPr>
          <p:cNvSpPr/>
          <p:nvPr/>
        </p:nvSpPr>
        <p:spPr>
          <a:xfrm>
            <a:off x="2775311" y="6239442"/>
            <a:ext cx="137160" cy="13716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F49D923-27A1-4BED-865E-61EB644D818E}"/>
              </a:ext>
            </a:extLst>
          </p:cNvPr>
          <p:cNvSpPr/>
          <p:nvPr/>
        </p:nvSpPr>
        <p:spPr>
          <a:xfrm>
            <a:off x="8893942" y="6197778"/>
            <a:ext cx="425718" cy="232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tx1"/>
                </a:solidFill>
              </a:rPr>
              <a:t>4.5</a:t>
            </a:r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A5406609-8999-4F26-83B5-5110A5B9C140}"/>
              </a:ext>
            </a:extLst>
          </p:cNvPr>
          <p:cNvSpPr/>
          <p:nvPr/>
        </p:nvSpPr>
        <p:spPr>
          <a:xfrm>
            <a:off x="8935843" y="6234144"/>
            <a:ext cx="137160" cy="137160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95A76692-20AD-468C-BA9A-CA7B1DF855FB}"/>
              </a:ext>
            </a:extLst>
          </p:cNvPr>
          <p:cNvSpPr/>
          <p:nvPr/>
        </p:nvSpPr>
        <p:spPr>
          <a:xfrm rot="16200000">
            <a:off x="9342484" y="4035811"/>
            <a:ext cx="133350" cy="91440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6CFF446-A8A1-47E3-8F6E-58AA690BD8ED}"/>
              </a:ext>
            </a:extLst>
          </p:cNvPr>
          <p:cNvSpPr/>
          <p:nvPr/>
        </p:nvSpPr>
        <p:spPr>
          <a:xfrm>
            <a:off x="9362575" y="4016411"/>
            <a:ext cx="91440" cy="724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E7B5308B-6822-4DFF-A0AF-FBDA2FA7E86F}"/>
              </a:ext>
            </a:extLst>
          </p:cNvPr>
          <p:cNvSpPr/>
          <p:nvPr/>
        </p:nvSpPr>
        <p:spPr>
          <a:xfrm rot="16200000">
            <a:off x="9342484" y="6258909"/>
            <a:ext cx="133350" cy="91440"/>
          </a:xfrm>
          <a:prstGeom prst="chevron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6E22244-BD87-4956-A95C-640255EB924A}"/>
              </a:ext>
            </a:extLst>
          </p:cNvPr>
          <p:cNvSpPr/>
          <p:nvPr/>
        </p:nvSpPr>
        <p:spPr>
          <a:xfrm>
            <a:off x="9362575" y="6239509"/>
            <a:ext cx="91440" cy="7245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F63D139B-C1D7-4437-8F9B-231F2DF9DBA2}"/>
              </a:ext>
            </a:extLst>
          </p:cNvPr>
          <p:cNvSpPr/>
          <p:nvPr/>
        </p:nvSpPr>
        <p:spPr>
          <a:xfrm rot="16200000">
            <a:off x="3183288" y="4038984"/>
            <a:ext cx="133350" cy="91440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C85F0A-2481-4047-8688-AFE5514DA71D}"/>
              </a:ext>
            </a:extLst>
          </p:cNvPr>
          <p:cNvSpPr/>
          <p:nvPr/>
        </p:nvSpPr>
        <p:spPr>
          <a:xfrm>
            <a:off x="3203379" y="4019584"/>
            <a:ext cx="91440" cy="724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Arrow: Chevron 31">
            <a:extLst>
              <a:ext uri="{FF2B5EF4-FFF2-40B4-BE49-F238E27FC236}">
                <a16:creationId xmlns:a16="http://schemas.microsoft.com/office/drawing/2014/main" id="{761AC2DA-B419-4907-B337-733C08467431}"/>
              </a:ext>
            </a:extLst>
          </p:cNvPr>
          <p:cNvSpPr/>
          <p:nvPr/>
        </p:nvSpPr>
        <p:spPr>
          <a:xfrm rot="16200000">
            <a:off x="3183288" y="6262082"/>
            <a:ext cx="133350" cy="91440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AEB45B3-E6E3-407D-B97B-DA445F9A5C8D}"/>
              </a:ext>
            </a:extLst>
          </p:cNvPr>
          <p:cNvSpPr/>
          <p:nvPr/>
        </p:nvSpPr>
        <p:spPr>
          <a:xfrm>
            <a:off x="3203379" y="6242682"/>
            <a:ext cx="91440" cy="724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526C1763-8151-4C48-8699-034AA50B4C64}"/>
              </a:ext>
            </a:extLst>
          </p:cNvPr>
          <p:cNvSpPr/>
          <p:nvPr/>
        </p:nvSpPr>
        <p:spPr>
          <a:xfrm rot="16200000">
            <a:off x="6282501" y="4043218"/>
            <a:ext cx="133350" cy="91440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D535927-A9C0-4727-A5A4-C226B54DE2D5}"/>
              </a:ext>
            </a:extLst>
          </p:cNvPr>
          <p:cNvSpPr/>
          <p:nvPr/>
        </p:nvSpPr>
        <p:spPr>
          <a:xfrm>
            <a:off x="6302592" y="4023818"/>
            <a:ext cx="91440" cy="724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05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98"/>
          <a:stretch/>
        </p:blipFill>
        <p:spPr>
          <a:xfrm>
            <a:off x="0" y="362712"/>
            <a:ext cx="9906000" cy="602846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37E3360-ED70-4C24-A8D5-9D6715D231C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32"/>
          <a:stretch/>
        </p:blipFill>
        <p:spPr>
          <a:xfrm>
            <a:off x="-1" y="927100"/>
            <a:ext cx="9902952" cy="554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810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2712"/>
            <a:ext cx="9906000" cy="61325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DA03F98-BEC2-42B9-B2F6-9D54A72A26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46185"/>
            <a:ext cx="9906000" cy="5581650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7F35BD2-5E95-4EA2-8127-C604AA23DE5E}"/>
              </a:ext>
            </a:extLst>
          </p:cNvPr>
          <p:cNvSpPr/>
          <p:nvPr/>
        </p:nvSpPr>
        <p:spPr>
          <a:xfrm>
            <a:off x="423512" y="3756260"/>
            <a:ext cx="6083166" cy="1034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BB1C08A-9514-4346-800D-3C489D983F27}"/>
              </a:ext>
            </a:extLst>
          </p:cNvPr>
          <p:cNvSpPr/>
          <p:nvPr/>
        </p:nvSpPr>
        <p:spPr>
          <a:xfrm>
            <a:off x="6543594" y="3754660"/>
            <a:ext cx="3017520" cy="103470"/>
          </a:xfrm>
          <a:prstGeom prst="roundRect">
            <a:avLst/>
          </a:prstGeom>
          <a:solidFill>
            <a:srgbClr val="F4433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B4E426-AF2F-42A9-94B6-E8B556A15565}"/>
              </a:ext>
            </a:extLst>
          </p:cNvPr>
          <p:cNvSpPr/>
          <p:nvPr/>
        </p:nvSpPr>
        <p:spPr>
          <a:xfrm>
            <a:off x="321733" y="6025415"/>
            <a:ext cx="4631267" cy="48756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7CA2E30-DFF8-4602-9CF0-BBB2220A413A}"/>
              </a:ext>
            </a:extLst>
          </p:cNvPr>
          <p:cNvSpPr/>
          <p:nvPr/>
        </p:nvSpPr>
        <p:spPr>
          <a:xfrm>
            <a:off x="1684406" y="6140918"/>
            <a:ext cx="1848050" cy="344745"/>
          </a:xfrm>
          <a:prstGeom prst="roundRect">
            <a:avLst>
              <a:gd name="adj" fmla="val 9760"/>
            </a:avLst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Vote For (42)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836D3B9-8C1C-453B-A68D-870B58ABCCFC}"/>
              </a:ext>
            </a:extLst>
          </p:cNvPr>
          <p:cNvSpPr/>
          <p:nvPr/>
        </p:nvSpPr>
        <p:spPr>
          <a:xfrm>
            <a:off x="6605656" y="6147268"/>
            <a:ext cx="1848050" cy="344745"/>
          </a:xfrm>
          <a:prstGeom prst="roundRect">
            <a:avLst>
              <a:gd name="adj" fmla="val 9760"/>
            </a:avLst>
          </a:prstGeom>
          <a:solidFill>
            <a:srgbClr val="F443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Vote Against (20)</a:t>
            </a:r>
          </a:p>
        </p:txBody>
      </p:sp>
    </p:spTree>
    <p:extLst>
      <p:ext uri="{BB962C8B-B14F-4D97-AF65-F5344CB8AC3E}">
        <p14:creationId xmlns:p14="http://schemas.microsoft.com/office/powerpoint/2010/main" val="160483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5"/>
          <a:stretch/>
        </p:blipFill>
        <p:spPr>
          <a:xfrm>
            <a:off x="0" y="362712"/>
            <a:ext cx="9906000" cy="598996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1FE7978-838F-419F-BA07-FE28C5D5ED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6"/>
          <a:stretch/>
        </p:blipFill>
        <p:spPr>
          <a:xfrm>
            <a:off x="-1" y="924024"/>
            <a:ext cx="9902952" cy="55026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3A999B6-B7A0-4007-94B2-6EBEA899796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 t="13940" b="-1"/>
          <a:stretch/>
        </p:blipFill>
        <p:spPr>
          <a:xfrm>
            <a:off x="5772105" y="5369701"/>
            <a:ext cx="274320" cy="261377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B6302F2-1BB3-4DCE-8F90-B2A04A3CD923}"/>
              </a:ext>
            </a:extLst>
          </p:cNvPr>
          <p:cNvGrpSpPr/>
          <p:nvPr/>
        </p:nvGrpSpPr>
        <p:grpSpPr>
          <a:xfrm>
            <a:off x="4043362" y="2351087"/>
            <a:ext cx="1895475" cy="1419516"/>
            <a:chOff x="4005262" y="2719387"/>
            <a:chExt cx="1895475" cy="1419516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A2A8847-834A-4E15-B282-24F6711D2C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8559" r="11021" b="6761"/>
            <a:stretch/>
          </p:blipFill>
          <p:spPr>
            <a:xfrm>
              <a:off x="4239767" y="2719387"/>
              <a:ext cx="1426464" cy="141951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EAC49EC-D434-4592-BC66-EE7CCF1BBDE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023234"/>
                </a:clrFrom>
                <a:clrTo>
                  <a:srgbClr val="023234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005262" y="2719387"/>
              <a:ext cx="1895475" cy="1419225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FC6072A6-255F-47A8-8929-1E8E629C0560}"/>
              </a:ext>
            </a:extLst>
          </p:cNvPr>
          <p:cNvSpPr/>
          <p:nvPr/>
        </p:nvSpPr>
        <p:spPr>
          <a:xfrm>
            <a:off x="0" y="362712"/>
            <a:ext cx="9906000" cy="6063921"/>
          </a:xfrm>
          <a:prstGeom prst="rect">
            <a:avLst/>
          </a:prstGeom>
          <a:solidFill>
            <a:schemeClr val="tx1">
              <a:lumMod val="95000"/>
              <a:lumOff val="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0D9D79D-51A2-4B20-9B74-DD32E2AD33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69496" y="1346208"/>
            <a:ext cx="7000875" cy="4572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BACF69C-0C05-4A86-A1BB-83717BCA43B3}"/>
              </a:ext>
            </a:extLst>
          </p:cNvPr>
          <p:cNvSpPr/>
          <p:nvPr/>
        </p:nvSpPr>
        <p:spPr>
          <a:xfrm>
            <a:off x="5067300" y="1347538"/>
            <a:ext cx="3124200" cy="7164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1"/>
                </a:solidFill>
              </a:rPr>
              <a:t>LOG IN </a:t>
            </a:r>
          </a:p>
          <a:p>
            <a:r>
              <a:rPr lang="en-US" sz="1400" dirty="0">
                <a:solidFill>
                  <a:schemeClr val="tx1"/>
                </a:solidFill>
              </a:rPr>
              <a:t>TO VIEW SCORE AND WIN REWARDS! </a:t>
            </a:r>
          </a:p>
        </p:txBody>
      </p:sp>
    </p:spTree>
    <p:extLst>
      <p:ext uri="{BB962C8B-B14F-4D97-AF65-F5344CB8AC3E}">
        <p14:creationId xmlns:p14="http://schemas.microsoft.com/office/powerpoint/2010/main" val="73222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83</TotalTime>
  <Words>224</Words>
  <Application>Microsoft Office PowerPoint</Application>
  <PresentationFormat>A4 Paper (210x297 mm)</PresentationFormat>
  <Paragraphs>99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Microsoft JhengHei UI</vt:lpstr>
      <vt:lpstr>Arial</vt:lpstr>
      <vt:lpstr>Calibri</vt:lpstr>
      <vt:lpstr>Calibri Light</vt:lpstr>
      <vt:lpstr>Tahoma</vt:lpstr>
      <vt:lpstr>Wingdings</vt:lpstr>
      <vt:lpstr>Office Theme</vt:lpstr>
      <vt:lpstr>think-cell Slide</vt:lpstr>
      <vt:lpstr>TOI Student Digital Strateg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thi, Rahul</dc:creator>
  <cp:lastModifiedBy>Panjavani, Hareshkumar</cp:lastModifiedBy>
  <cp:revision>189</cp:revision>
  <dcterms:created xsi:type="dcterms:W3CDTF">2017-11-29T05:05:02Z</dcterms:created>
  <dcterms:modified xsi:type="dcterms:W3CDTF">2017-12-19T04:46:11Z</dcterms:modified>
</cp:coreProperties>
</file>